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3" r:id="rId4"/>
    <p:sldMasterId id="2147483666" r:id="rId5"/>
  </p:sldMasterIdLst>
  <p:notesMasterIdLst>
    <p:notesMasterId r:id="rId27"/>
  </p:notesMasterIdLst>
  <p:handoutMasterIdLst>
    <p:handoutMasterId r:id="rId28"/>
  </p:handoutMasterIdLst>
  <p:sldIdLst>
    <p:sldId id="483" r:id="rId6"/>
    <p:sldId id="1429" r:id="rId7"/>
    <p:sldId id="4193" r:id="rId8"/>
    <p:sldId id="4055" r:id="rId9"/>
    <p:sldId id="4162" r:id="rId10"/>
    <p:sldId id="4185" r:id="rId11"/>
    <p:sldId id="4192" r:id="rId12"/>
    <p:sldId id="4194" r:id="rId13"/>
    <p:sldId id="4167" r:id="rId14"/>
    <p:sldId id="4164" r:id="rId15"/>
    <p:sldId id="4196" r:id="rId16"/>
    <p:sldId id="4054" r:id="rId17"/>
    <p:sldId id="4197" r:id="rId18"/>
    <p:sldId id="4179" r:id="rId19"/>
    <p:sldId id="4181" r:id="rId20"/>
    <p:sldId id="4182" r:id="rId21"/>
    <p:sldId id="4183" r:id="rId22"/>
    <p:sldId id="4198" r:id="rId23"/>
    <p:sldId id="4166" r:id="rId24"/>
    <p:sldId id="4199" r:id="rId25"/>
    <p:sldId id="4169" r:id="rId26"/>
  </p:sldIdLst>
  <p:sldSz cx="9144000" cy="6858000" type="screen4x3"/>
  <p:notesSz cx="7010400" cy="92964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w, Yvonne (HPC)" initials="YC" lastIdx="2" clrIdx="0"/>
  <p:cmAuthor id="1" name="user" initials="u" lastIdx="2" clrIdx="1"/>
  <p:cmAuthor id="2" name="Michael Bailit" initials="MB" lastIdx="512" clrIdx="2"/>
  <p:cmAuthor id="3" name="Cristi Carman" initials="CC" lastIdx="0" clrIdx="3"/>
  <p:cmAuthor id="4" name="Deepti Kanneganti" initials="DK" lastIdx="316" clrIdx="4"/>
  <p:cmAuthor id="5" name="Deepti Kanneganti" initials="DK [2]" lastIdx="1" clrIdx="5"/>
  <p:cmAuthor id="6" name="Vivian Haime" initials="VH" lastIdx="1" clrIdx="6"/>
  <p:cmAuthor id="7" name="KSB" initials="KSB" lastIdx="5" clrIdx="7"/>
  <p:cmAuthor id="8" name="lshaughnessy" initials="ls" lastIdx="3" clrIdx="8"/>
  <p:cmAuthor id="9" name="Justine Zayhowski" initials="JZ" lastIdx="62" clrIdx="9"/>
  <p:cmAuthor id="10" name="Ahlgren, Lisa" initials="AL" lastIdx="1" clrIdx="10">
    <p:extLst>
      <p:ext uri="{19B8F6BF-5375-455C-9EA6-DF929625EA0E}">
        <p15:presenceInfo xmlns:p15="http://schemas.microsoft.com/office/powerpoint/2012/main" userId="S-1-5-21-320818509-2549926932-657949529-5936" providerId="AD"/>
      </p:ext>
    </p:extLst>
  </p:cmAuthor>
  <p:cmAuthor id="11" name="Michael" initials="M" lastIdx="10" clrIdx="11">
    <p:extLst>
      <p:ext uri="{19B8F6BF-5375-455C-9EA6-DF929625EA0E}">
        <p15:presenceInfo xmlns:p15="http://schemas.microsoft.com/office/powerpoint/2012/main" userId="S::mbailit@bailit-health.com::6e5c4604-85bf-41ef-8e97-4724b7d56589" providerId="AD"/>
      </p:ext>
    </p:extLst>
  </p:cmAuthor>
  <p:cmAuthor id="12" name="Erin Taylor" initials="ET" lastIdx="1" clrIdx="12">
    <p:extLst>
      <p:ext uri="{19B8F6BF-5375-455C-9EA6-DF929625EA0E}">
        <p15:presenceInfo xmlns:p15="http://schemas.microsoft.com/office/powerpoint/2012/main" userId="S::ETaylor@bailit-health.com::c09af165-50a0-4a78-8b32-79b157be4bff" providerId="AD"/>
      </p:ext>
    </p:extLst>
  </p:cmAuthor>
  <p:cmAuthor id="13" name="January Angeles" initials="JA" lastIdx="1" clrIdx="13">
    <p:extLst>
      <p:ext uri="{19B8F6BF-5375-455C-9EA6-DF929625EA0E}">
        <p15:presenceInfo xmlns:p15="http://schemas.microsoft.com/office/powerpoint/2012/main" userId="January Angeles" providerId="None"/>
      </p:ext>
    </p:extLst>
  </p:cmAuthor>
  <p:cmAuthor id="14" name="Rachel Isaacson" initials="RI" lastIdx="60" clrIdx="14">
    <p:extLst>
      <p:ext uri="{19B8F6BF-5375-455C-9EA6-DF929625EA0E}">
        <p15:presenceInfo xmlns:p15="http://schemas.microsoft.com/office/powerpoint/2012/main" userId="S::RIsaacson@bailit-health.com::eb36bbd2-09ed-43a6-bb04-b0cadb884c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3467"/>
    <a:srgbClr val="003366"/>
    <a:srgbClr val="B2B2B2"/>
    <a:srgbClr val="002060"/>
    <a:srgbClr val="E79791"/>
    <a:srgbClr val="70AD47"/>
    <a:srgbClr val="FFC000"/>
    <a:srgbClr val="F4CFCC"/>
    <a:srgbClr val="003399"/>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4A597C-E1BB-4683-9B76-92B22F6EDF8A}" v="6" dt="2021-06-02T16:39:39.855"/>
    <p1510:client id="{C2F50CC8-BB77-46CD-95FB-EF379AF64C1B}" v="14" dt="2021-06-03T00:33:31.8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01" autoAdjust="0"/>
    <p:restoredTop sz="93792" autoAdjust="0"/>
  </p:normalViewPr>
  <p:slideViewPr>
    <p:cSldViewPr snapToGrid="0">
      <p:cViewPr varScale="1">
        <p:scale>
          <a:sx n="62" d="100"/>
          <a:sy n="62" d="100"/>
        </p:scale>
        <p:origin x="376" y="56"/>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chel Isaacson" userId="eb36bbd2-09ed-43a6-bb04-b0cadb884c56" providerId="ADAL" clId="{2D4A597C-E1BB-4683-9B76-92B22F6EDF8A}"/>
    <pc:docChg chg="undo redo custSel addSld delSld modSld sldOrd">
      <pc:chgData name="Rachel Isaacson" userId="eb36bbd2-09ed-43a6-bb04-b0cadb884c56" providerId="ADAL" clId="{2D4A597C-E1BB-4683-9B76-92B22F6EDF8A}" dt="2021-06-02T16:39:39.854" v="9288"/>
      <pc:docMkLst>
        <pc:docMk/>
      </pc:docMkLst>
      <pc:sldChg chg="modSp mod">
        <pc:chgData name="Rachel Isaacson" userId="eb36bbd2-09ed-43a6-bb04-b0cadb884c56" providerId="ADAL" clId="{2D4A597C-E1BB-4683-9B76-92B22F6EDF8A}" dt="2021-05-26T12:36:18.505" v="18" actId="6549"/>
        <pc:sldMkLst>
          <pc:docMk/>
          <pc:sldMk cId="1210250860" sldId="483"/>
        </pc:sldMkLst>
        <pc:spChg chg="mod">
          <ac:chgData name="Rachel Isaacson" userId="eb36bbd2-09ed-43a6-bb04-b0cadb884c56" providerId="ADAL" clId="{2D4A597C-E1BB-4683-9B76-92B22F6EDF8A}" dt="2021-05-26T12:36:18.505" v="18" actId="6549"/>
          <ac:spMkLst>
            <pc:docMk/>
            <pc:sldMk cId="1210250860" sldId="483"/>
            <ac:spMk id="3" creationId="{00000000-0000-0000-0000-000000000000}"/>
          </ac:spMkLst>
        </pc:spChg>
      </pc:sldChg>
      <pc:sldChg chg="del">
        <pc:chgData name="Rachel Isaacson" userId="eb36bbd2-09ed-43a6-bb04-b0cadb884c56" providerId="ADAL" clId="{2D4A597C-E1BB-4683-9B76-92B22F6EDF8A}" dt="2021-05-26T12:36:34.585" v="19" actId="2696"/>
        <pc:sldMkLst>
          <pc:docMk/>
          <pc:sldMk cId="3828190562" sldId="1124"/>
        </pc:sldMkLst>
      </pc:sldChg>
      <pc:sldChg chg="modSp add del mod modNotesTx">
        <pc:chgData name="Rachel Isaacson" userId="eb36bbd2-09ed-43a6-bb04-b0cadb884c56" providerId="ADAL" clId="{2D4A597C-E1BB-4683-9B76-92B22F6EDF8A}" dt="2021-06-01T12:52:09.609" v="6631" actId="2696"/>
        <pc:sldMkLst>
          <pc:docMk/>
          <pc:sldMk cId="3665986348" sldId="1400"/>
        </pc:sldMkLst>
        <pc:spChg chg="mod">
          <ac:chgData name="Rachel Isaacson" userId="eb36bbd2-09ed-43a6-bb04-b0cadb884c56" providerId="ADAL" clId="{2D4A597C-E1BB-4683-9B76-92B22F6EDF8A}" dt="2021-05-26T14:58:53.294" v="1097" actId="6549"/>
          <ac:spMkLst>
            <pc:docMk/>
            <pc:sldMk cId="3665986348" sldId="1400"/>
            <ac:spMk id="2" creationId="{9ADD53E1-3422-4577-BBD7-350C92A1DED6}"/>
          </ac:spMkLst>
        </pc:spChg>
        <pc:spChg chg="mod">
          <ac:chgData name="Rachel Isaacson" userId="eb36bbd2-09ed-43a6-bb04-b0cadb884c56" providerId="ADAL" clId="{2D4A597C-E1BB-4683-9B76-92B22F6EDF8A}" dt="2021-05-26T18:19:08.221" v="4195" actId="255"/>
          <ac:spMkLst>
            <pc:docMk/>
            <pc:sldMk cId="3665986348" sldId="1400"/>
            <ac:spMk id="3" creationId="{76240769-393B-45DA-BDA7-2583D849D25F}"/>
          </ac:spMkLst>
        </pc:spChg>
      </pc:sldChg>
      <pc:sldChg chg="addSp delSp modSp mod addCm delCm modCm">
        <pc:chgData name="Rachel Isaacson" userId="eb36bbd2-09ed-43a6-bb04-b0cadb884c56" providerId="ADAL" clId="{2D4A597C-E1BB-4683-9B76-92B22F6EDF8A}" dt="2021-06-02T16:33:02.415" v="9232" actId="1592"/>
        <pc:sldMkLst>
          <pc:docMk/>
          <pc:sldMk cId="3123438988" sldId="1429"/>
        </pc:sldMkLst>
        <pc:spChg chg="mod">
          <ac:chgData name="Rachel Isaacson" userId="eb36bbd2-09ed-43a6-bb04-b0cadb884c56" providerId="ADAL" clId="{2D4A597C-E1BB-4683-9B76-92B22F6EDF8A}" dt="2021-06-02T16:10:29.325" v="9229" actId="113"/>
          <ac:spMkLst>
            <pc:docMk/>
            <pc:sldMk cId="3123438988" sldId="1429"/>
            <ac:spMk id="3" creationId="{8E396B14-F9D7-4ACC-AED3-6E88E76396F5}"/>
          </ac:spMkLst>
        </pc:spChg>
        <pc:spChg chg="add del mod">
          <ac:chgData name="Rachel Isaacson" userId="eb36bbd2-09ed-43a6-bb04-b0cadb884c56" providerId="ADAL" clId="{2D4A597C-E1BB-4683-9B76-92B22F6EDF8A}" dt="2021-05-26T13:13:42.747" v="491" actId="1076"/>
          <ac:spMkLst>
            <pc:docMk/>
            <pc:sldMk cId="3123438988" sldId="1429"/>
            <ac:spMk id="5" creationId="{D3915D3D-656E-48AA-8D63-358A7E5AA453}"/>
          </ac:spMkLst>
        </pc:spChg>
      </pc:sldChg>
      <pc:sldChg chg="modSp add del mod modNotesTx">
        <pc:chgData name="Rachel Isaacson" userId="eb36bbd2-09ed-43a6-bb04-b0cadb884c56" providerId="ADAL" clId="{2D4A597C-E1BB-4683-9B76-92B22F6EDF8A}" dt="2021-06-01T12:52:09.609" v="6631" actId="2696"/>
        <pc:sldMkLst>
          <pc:docMk/>
          <pc:sldMk cId="3838264154" sldId="1435"/>
        </pc:sldMkLst>
        <pc:spChg chg="mod">
          <ac:chgData name="Rachel Isaacson" userId="eb36bbd2-09ed-43a6-bb04-b0cadb884c56" providerId="ADAL" clId="{2D4A597C-E1BB-4683-9B76-92B22F6EDF8A}" dt="2021-05-26T14:59:31.355" v="1221" actId="6549"/>
          <ac:spMkLst>
            <pc:docMk/>
            <pc:sldMk cId="3838264154" sldId="1435"/>
            <ac:spMk id="2" creationId="{ECBAA621-D8B6-4E7D-9208-E37E4DAB2D78}"/>
          </ac:spMkLst>
        </pc:spChg>
        <pc:spChg chg="mod">
          <ac:chgData name="Rachel Isaacson" userId="eb36bbd2-09ed-43a6-bb04-b0cadb884c56" providerId="ADAL" clId="{2D4A597C-E1BB-4683-9B76-92B22F6EDF8A}" dt="2021-05-26T18:19:27.111" v="4197" actId="255"/>
          <ac:spMkLst>
            <pc:docMk/>
            <pc:sldMk cId="3838264154" sldId="1435"/>
            <ac:spMk id="3" creationId="{EB6DE78D-CA5E-4935-8E9E-DAFF28F780EE}"/>
          </ac:spMkLst>
        </pc:spChg>
      </pc:sldChg>
      <pc:sldChg chg="del">
        <pc:chgData name="Rachel Isaacson" userId="eb36bbd2-09ed-43a6-bb04-b0cadb884c56" providerId="ADAL" clId="{2D4A597C-E1BB-4683-9B76-92B22F6EDF8A}" dt="2021-05-26T12:36:34.585" v="19" actId="2696"/>
        <pc:sldMkLst>
          <pc:docMk/>
          <pc:sldMk cId="690201876" sldId="1492"/>
        </pc:sldMkLst>
      </pc:sldChg>
      <pc:sldChg chg="del">
        <pc:chgData name="Rachel Isaacson" userId="eb36bbd2-09ed-43a6-bb04-b0cadb884c56" providerId="ADAL" clId="{2D4A597C-E1BB-4683-9B76-92B22F6EDF8A}" dt="2021-05-26T12:36:34.585" v="19" actId="2696"/>
        <pc:sldMkLst>
          <pc:docMk/>
          <pc:sldMk cId="1958059492" sldId="1509"/>
        </pc:sldMkLst>
      </pc:sldChg>
      <pc:sldChg chg="del">
        <pc:chgData name="Rachel Isaacson" userId="eb36bbd2-09ed-43a6-bb04-b0cadb884c56" providerId="ADAL" clId="{2D4A597C-E1BB-4683-9B76-92B22F6EDF8A}" dt="2021-05-26T12:36:34.585" v="19" actId="2696"/>
        <pc:sldMkLst>
          <pc:docMk/>
          <pc:sldMk cId="3336706788" sldId="1511"/>
        </pc:sldMkLst>
      </pc:sldChg>
      <pc:sldChg chg="del">
        <pc:chgData name="Rachel Isaacson" userId="eb36bbd2-09ed-43a6-bb04-b0cadb884c56" providerId="ADAL" clId="{2D4A597C-E1BB-4683-9B76-92B22F6EDF8A}" dt="2021-05-26T12:36:34.585" v="19" actId="2696"/>
        <pc:sldMkLst>
          <pc:docMk/>
          <pc:sldMk cId="1884594512" sldId="1517"/>
        </pc:sldMkLst>
      </pc:sldChg>
      <pc:sldChg chg="del">
        <pc:chgData name="Rachel Isaacson" userId="eb36bbd2-09ed-43a6-bb04-b0cadb884c56" providerId="ADAL" clId="{2D4A597C-E1BB-4683-9B76-92B22F6EDF8A}" dt="2021-05-26T12:36:34.585" v="19" actId="2696"/>
        <pc:sldMkLst>
          <pc:docMk/>
          <pc:sldMk cId="3724312080" sldId="1520"/>
        </pc:sldMkLst>
      </pc:sldChg>
      <pc:sldChg chg="del">
        <pc:chgData name="Rachel Isaacson" userId="eb36bbd2-09ed-43a6-bb04-b0cadb884c56" providerId="ADAL" clId="{2D4A597C-E1BB-4683-9B76-92B22F6EDF8A}" dt="2021-05-26T12:36:34.585" v="19" actId="2696"/>
        <pc:sldMkLst>
          <pc:docMk/>
          <pc:sldMk cId="616417175" sldId="1525"/>
        </pc:sldMkLst>
      </pc:sldChg>
      <pc:sldChg chg="del">
        <pc:chgData name="Rachel Isaacson" userId="eb36bbd2-09ed-43a6-bb04-b0cadb884c56" providerId="ADAL" clId="{2D4A597C-E1BB-4683-9B76-92B22F6EDF8A}" dt="2021-05-26T12:36:34.585" v="19" actId="2696"/>
        <pc:sldMkLst>
          <pc:docMk/>
          <pc:sldMk cId="4113287951" sldId="1526"/>
        </pc:sldMkLst>
      </pc:sldChg>
      <pc:sldChg chg="del">
        <pc:chgData name="Rachel Isaacson" userId="eb36bbd2-09ed-43a6-bb04-b0cadb884c56" providerId="ADAL" clId="{2D4A597C-E1BB-4683-9B76-92B22F6EDF8A}" dt="2021-05-26T12:36:34.585" v="19" actId="2696"/>
        <pc:sldMkLst>
          <pc:docMk/>
          <pc:sldMk cId="4023271355" sldId="1527"/>
        </pc:sldMkLst>
      </pc:sldChg>
      <pc:sldChg chg="del">
        <pc:chgData name="Rachel Isaacson" userId="eb36bbd2-09ed-43a6-bb04-b0cadb884c56" providerId="ADAL" clId="{2D4A597C-E1BB-4683-9B76-92B22F6EDF8A}" dt="2021-05-26T12:36:34.585" v="19" actId="2696"/>
        <pc:sldMkLst>
          <pc:docMk/>
          <pc:sldMk cId="2428160873" sldId="1528"/>
        </pc:sldMkLst>
      </pc:sldChg>
      <pc:sldChg chg="del">
        <pc:chgData name="Rachel Isaacson" userId="eb36bbd2-09ed-43a6-bb04-b0cadb884c56" providerId="ADAL" clId="{2D4A597C-E1BB-4683-9B76-92B22F6EDF8A}" dt="2021-05-26T12:36:34.585" v="19" actId="2696"/>
        <pc:sldMkLst>
          <pc:docMk/>
          <pc:sldMk cId="817110053" sldId="1529"/>
        </pc:sldMkLst>
      </pc:sldChg>
      <pc:sldChg chg="del">
        <pc:chgData name="Rachel Isaacson" userId="eb36bbd2-09ed-43a6-bb04-b0cadb884c56" providerId="ADAL" clId="{2D4A597C-E1BB-4683-9B76-92B22F6EDF8A}" dt="2021-05-26T12:36:34.585" v="19" actId="2696"/>
        <pc:sldMkLst>
          <pc:docMk/>
          <pc:sldMk cId="1355705196" sldId="1530"/>
        </pc:sldMkLst>
      </pc:sldChg>
      <pc:sldChg chg="del">
        <pc:chgData name="Rachel Isaacson" userId="eb36bbd2-09ed-43a6-bb04-b0cadb884c56" providerId="ADAL" clId="{2D4A597C-E1BB-4683-9B76-92B22F6EDF8A}" dt="2021-05-26T12:36:34.585" v="19" actId="2696"/>
        <pc:sldMkLst>
          <pc:docMk/>
          <pc:sldMk cId="2907942846" sldId="1569"/>
        </pc:sldMkLst>
      </pc:sldChg>
      <pc:sldChg chg="modSp add del mod ord addCm delCm modCm">
        <pc:chgData name="Rachel Isaacson" userId="eb36bbd2-09ed-43a6-bb04-b0cadb884c56" providerId="ADAL" clId="{2D4A597C-E1BB-4683-9B76-92B22F6EDF8A}" dt="2021-06-01T13:57:22.594" v="8558" actId="1592"/>
        <pc:sldMkLst>
          <pc:docMk/>
          <pc:sldMk cId="2987806787" sldId="4054"/>
        </pc:sldMkLst>
        <pc:spChg chg="mod">
          <ac:chgData name="Rachel Isaacson" userId="eb36bbd2-09ed-43a6-bb04-b0cadb884c56" providerId="ADAL" clId="{2D4A597C-E1BB-4683-9B76-92B22F6EDF8A}" dt="2021-05-26T16:58:32.014" v="3559" actId="20577"/>
          <ac:spMkLst>
            <pc:docMk/>
            <pc:sldMk cId="2987806787" sldId="4054"/>
            <ac:spMk id="2" creationId="{CE520C66-4A72-4D9F-8CA2-37792391F489}"/>
          </ac:spMkLst>
        </pc:spChg>
        <pc:spChg chg="mod">
          <ac:chgData name="Rachel Isaacson" userId="eb36bbd2-09ed-43a6-bb04-b0cadb884c56" providerId="ADAL" clId="{2D4A597C-E1BB-4683-9B76-92B22F6EDF8A}" dt="2021-05-26T19:16:30.980" v="6074" actId="20577"/>
          <ac:spMkLst>
            <pc:docMk/>
            <pc:sldMk cId="2987806787" sldId="4054"/>
            <ac:spMk id="3" creationId="{789EBB61-BF5A-4C35-881F-E12FEF30E1AF}"/>
          </ac:spMkLst>
        </pc:spChg>
      </pc:sldChg>
      <pc:sldChg chg="add del">
        <pc:chgData name="Rachel Isaacson" userId="eb36bbd2-09ed-43a6-bb04-b0cadb884c56" providerId="ADAL" clId="{2D4A597C-E1BB-4683-9B76-92B22F6EDF8A}" dt="2021-05-26T12:36:49.460" v="25" actId="2890"/>
        <pc:sldMkLst>
          <pc:docMk/>
          <pc:sldMk cId="282072384" sldId="4055"/>
        </pc:sldMkLst>
      </pc:sldChg>
      <pc:sldChg chg="new del">
        <pc:chgData name="Rachel Isaacson" userId="eb36bbd2-09ed-43a6-bb04-b0cadb884c56" providerId="ADAL" clId="{2D4A597C-E1BB-4683-9B76-92B22F6EDF8A}" dt="2021-05-26T12:36:55.236" v="27" actId="2696"/>
        <pc:sldMkLst>
          <pc:docMk/>
          <pc:sldMk cId="2480779516" sldId="4055"/>
        </pc:sldMkLst>
      </pc:sldChg>
      <pc:sldChg chg="modSp add mod ord">
        <pc:chgData name="Rachel Isaacson" userId="eb36bbd2-09ed-43a6-bb04-b0cadb884c56" providerId="ADAL" clId="{2D4A597C-E1BB-4683-9B76-92B22F6EDF8A}" dt="2021-06-01T17:07:21.029" v="9226" actId="6549"/>
        <pc:sldMkLst>
          <pc:docMk/>
          <pc:sldMk cId="2990342435" sldId="4055"/>
        </pc:sldMkLst>
        <pc:spChg chg="mod">
          <ac:chgData name="Rachel Isaacson" userId="eb36bbd2-09ed-43a6-bb04-b0cadb884c56" providerId="ADAL" clId="{2D4A597C-E1BB-4683-9B76-92B22F6EDF8A}" dt="2021-06-01T13:15:40.744" v="7471" actId="6549"/>
          <ac:spMkLst>
            <pc:docMk/>
            <pc:sldMk cId="2990342435" sldId="4055"/>
            <ac:spMk id="2" creationId="{CE520C66-4A72-4D9F-8CA2-37792391F489}"/>
          </ac:spMkLst>
        </pc:spChg>
        <pc:spChg chg="mod">
          <ac:chgData name="Rachel Isaacson" userId="eb36bbd2-09ed-43a6-bb04-b0cadb884c56" providerId="ADAL" clId="{2D4A597C-E1BB-4683-9B76-92B22F6EDF8A}" dt="2021-06-01T17:07:21.029" v="9226" actId="6549"/>
          <ac:spMkLst>
            <pc:docMk/>
            <pc:sldMk cId="2990342435" sldId="4055"/>
            <ac:spMk id="3" creationId="{789EBB61-BF5A-4C35-881F-E12FEF30E1AF}"/>
          </ac:spMkLst>
        </pc:spChg>
      </pc:sldChg>
      <pc:sldChg chg="new del">
        <pc:chgData name="Rachel Isaacson" userId="eb36bbd2-09ed-43a6-bb04-b0cadb884c56" providerId="ADAL" clId="{2D4A597C-E1BB-4683-9B76-92B22F6EDF8A}" dt="2021-05-26T12:48:32.619" v="93" actId="2696"/>
        <pc:sldMkLst>
          <pc:docMk/>
          <pc:sldMk cId="1217467758" sldId="4056"/>
        </pc:sldMkLst>
      </pc:sldChg>
      <pc:sldChg chg="del">
        <pc:chgData name="Rachel Isaacson" userId="eb36bbd2-09ed-43a6-bb04-b0cadb884c56" providerId="ADAL" clId="{2D4A597C-E1BB-4683-9B76-92B22F6EDF8A}" dt="2021-05-26T12:36:34.585" v="19" actId="2696"/>
        <pc:sldMkLst>
          <pc:docMk/>
          <pc:sldMk cId="419072397" sldId="4063"/>
        </pc:sldMkLst>
      </pc:sldChg>
      <pc:sldChg chg="del">
        <pc:chgData name="Rachel Isaacson" userId="eb36bbd2-09ed-43a6-bb04-b0cadb884c56" providerId="ADAL" clId="{2D4A597C-E1BB-4683-9B76-92B22F6EDF8A}" dt="2021-05-26T12:36:34.585" v="19" actId="2696"/>
        <pc:sldMkLst>
          <pc:docMk/>
          <pc:sldMk cId="445429999" sldId="4077"/>
        </pc:sldMkLst>
      </pc:sldChg>
      <pc:sldChg chg="del">
        <pc:chgData name="Rachel Isaacson" userId="eb36bbd2-09ed-43a6-bb04-b0cadb884c56" providerId="ADAL" clId="{2D4A597C-E1BB-4683-9B76-92B22F6EDF8A}" dt="2021-05-26T12:36:34.585" v="19" actId="2696"/>
        <pc:sldMkLst>
          <pc:docMk/>
          <pc:sldMk cId="2390967901" sldId="4084"/>
        </pc:sldMkLst>
      </pc:sldChg>
      <pc:sldChg chg="del">
        <pc:chgData name="Rachel Isaacson" userId="eb36bbd2-09ed-43a6-bb04-b0cadb884c56" providerId="ADAL" clId="{2D4A597C-E1BB-4683-9B76-92B22F6EDF8A}" dt="2021-05-26T12:36:34.585" v="19" actId="2696"/>
        <pc:sldMkLst>
          <pc:docMk/>
          <pc:sldMk cId="2387233941" sldId="4085"/>
        </pc:sldMkLst>
      </pc:sldChg>
      <pc:sldChg chg="del">
        <pc:chgData name="Rachel Isaacson" userId="eb36bbd2-09ed-43a6-bb04-b0cadb884c56" providerId="ADAL" clId="{2D4A597C-E1BB-4683-9B76-92B22F6EDF8A}" dt="2021-05-26T12:36:34.585" v="19" actId="2696"/>
        <pc:sldMkLst>
          <pc:docMk/>
          <pc:sldMk cId="1387018150" sldId="4092"/>
        </pc:sldMkLst>
      </pc:sldChg>
      <pc:sldChg chg="del">
        <pc:chgData name="Rachel Isaacson" userId="eb36bbd2-09ed-43a6-bb04-b0cadb884c56" providerId="ADAL" clId="{2D4A597C-E1BB-4683-9B76-92B22F6EDF8A}" dt="2021-05-26T12:36:34.585" v="19" actId="2696"/>
        <pc:sldMkLst>
          <pc:docMk/>
          <pc:sldMk cId="119044173" sldId="4107"/>
        </pc:sldMkLst>
      </pc:sldChg>
      <pc:sldChg chg="del">
        <pc:chgData name="Rachel Isaacson" userId="eb36bbd2-09ed-43a6-bb04-b0cadb884c56" providerId="ADAL" clId="{2D4A597C-E1BB-4683-9B76-92B22F6EDF8A}" dt="2021-05-26T12:36:34.585" v="19" actId="2696"/>
        <pc:sldMkLst>
          <pc:docMk/>
          <pc:sldMk cId="1168812470" sldId="4108"/>
        </pc:sldMkLst>
      </pc:sldChg>
      <pc:sldChg chg="del">
        <pc:chgData name="Rachel Isaacson" userId="eb36bbd2-09ed-43a6-bb04-b0cadb884c56" providerId="ADAL" clId="{2D4A597C-E1BB-4683-9B76-92B22F6EDF8A}" dt="2021-05-26T12:36:34.585" v="19" actId="2696"/>
        <pc:sldMkLst>
          <pc:docMk/>
          <pc:sldMk cId="3683379017" sldId="4109"/>
        </pc:sldMkLst>
      </pc:sldChg>
      <pc:sldChg chg="del">
        <pc:chgData name="Rachel Isaacson" userId="eb36bbd2-09ed-43a6-bb04-b0cadb884c56" providerId="ADAL" clId="{2D4A597C-E1BB-4683-9B76-92B22F6EDF8A}" dt="2021-05-26T12:36:34.585" v="19" actId="2696"/>
        <pc:sldMkLst>
          <pc:docMk/>
          <pc:sldMk cId="566731374" sldId="4110"/>
        </pc:sldMkLst>
      </pc:sldChg>
      <pc:sldChg chg="del">
        <pc:chgData name="Rachel Isaacson" userId="eb36bbd2-09ed-43a6-bb04-b0cadb884c56" providerId="ADAL" clId="{2D4A597C-E1BB-4683-9B76-92B22F6EDF8A}" dt="2021-05-26T12:36:34.585" v="19" actId="2696"/>
        <pc:sldMkLst>
          <pc:docMk/>
          <pc:sldMk cId="1234897451" sldId="4111"/>
        </pc:sldMkLst>
      </pc:sldChg>
      <pc:sldChg chg="del">
        <pc:chgData name="Rachel Isaacson" userId="eb36bbd2-09ed-43a6-bb04-b0cadb884c56" providerId="ADAL" clId="{2D4A597C-E1BB-4683-9B76-92B22F6EDF8A}" dt="2021-05-26T12:36:34.585" v="19" actId="2696"/>
        <pc:sldMkLst>
          <pc:docMk/>
          <pc:sldMk cId="3009802543" sldId="4113"/>
        </pc:sldMkLst>
      </pc:sldChg>
      <pc:sldChg chg="del">
        <pc:chgData name="Rachel Isaacson" userId="eb36bbd2-09ed-43a6-bb04-b0cadb884c56" providerId="ADAL" clId="{2D4A597C-E1BB-4683-9B76-92B22F6EDF8A}" dt="2021-05-26T12:36:34.585" v="19" actId="2696"/>
        <pc:sldMkLst>
          <pc:docMk/>
          <pc:sldMk cId="927616253" sldId="4124"/>
        </pc:sldMkLst>
      </pc:sldChg>
      <pc:sldChg chg="del">
        <pc:chgData name="Rachel Isaacson" userId="eb36bbd2-09ed-43a6-bb04-b0cadb884c56" providerId="ADAL" clId="{2D4A597C-E1BB-4683-9B76-92B22F6EDF8A}" dt="2021-05-26T12:36:34.585" v="19" actId="2696"/>
        <pc:sldMkLst>
          <pc:docMk/>
          <pc:sldMk cId="2519430327" sldId="4127"/>
        </pc:sldMkLst>
      </pc:sldChg>
      <pc:sldChg chg="del">
        <pc:chgData name="Rachel Isaacson" userId="eb36bbd2-09ed-43a6-bb04-b0cadb884c56" providerId="ADAL" clId="{2D4A597C-E1BB-4683-9B76-92B22F6EDF8A}" dt="2021-05-26T12:36:34.585" v="19" actId="2696"/>
        <pc:sldMkLst>
          <pc:docMk/>
          <pc:sldMk cId="4424343" sldId="4128"/>
        </pc:sldMkLst>
      </pc:sldChg>
      <pc:sldChg chg="del">
        <pc:chgData name="Rachel Isaacson" userId="eb36bbd2-09ed-43a6-bb04-b0cadb884c56" providerId="ADAL" clId="{2D4A597C-E1BB-4683-9B76-92B22F6EDF8A}" dt="2021-05-26T12:36:34.585" v="19" actId="2696"/>
        <pc:sldMkLst>
          <pc:docMk/>
          <pc:sldMk cId="3462239844" sldId="4132"/>
        </pc:sldMkLst>
      </pc:sldChg>
      <pc:sldChg chg="del">
        <pc:chgData name="Rachel Isaacson" userId="eb36bbd2-09ed-43a6-bb04-b0cadb884c56" providerId="ADAL" clId="{2D4A597C-E1BB-4683-9B76-92B22F6EDF8A}" dt="2021-05-26T12:36:34.585" v="19" actId="2696"/>
        <pc:sldMkLst>
          <pc:docMk/>
          <pc:sldMk cId="3486824569" sldId="4141"/>
        </pc:sldMkLst>
      </pc:sldChg>
      <pc:sldChg chg="del">
        <pc:chgData name="Rachel Isaacson" userId="eb36bbd2-09ed-43a6-bb04-b0cadb884c56" providerId="ADAL" clId="{2D4A597C-E1BB-4683-9B76-92B22F6EDF8A}" dt="2021-05-26T12:36:34.585" v="19" actId="2696"/>
        <pc:sldMkLst>
          <pc:docMk/>
          <pc:sldMk cId="2940181294" sldId="4145"/>
        </pc:sldMkLst>
      </pc:sldChg>
      <pc:sldChg chg="del">
        <pc:chgData name="Rachel Isaacson" userId="eb36bbd2-09ed-43a6-bb04-b0cadb884c56" providerId="ADAL" clId="{2D4A597C-E1BB-4683-9B76-92B22F6EDF8A}" dt="2021-05-26T12:36:34.585" v="19" actId="2696"/>
        <pc:sldMkLst>
          <pc:docMk/>
          <pc:sldMk cId="330556549" sldId="4147"/>
        </pc:sldMkLst>
      </pc:sldChg>
      <pc:sldChg chg="del">
        <pc:chgData name="Rachel Isaacson" userId="eb36bbd2-09ed-43a6-bb04-b0cadb884c56" providerId="ADAL" clId="{2D4A597C-E1BB-4683-9B76-92B22F6EDF8A}" dt="2021-05-26T12:36:34.585" v="19" actId="2696"/>
        <pc:sldMkLst>
          <pc:docMk/>
          <pc:sldMk cId="3728511090" sldId="4154"/>
        </pc:sldMkLst>
      </pc:sldChg>
      <pc:sldChg chg="modSp add del mod">
        <pc:chgData name="Rachel Isaacson" userId="eb36bbd2-09ed-43a6-bb04-b0cadb884c56" providerId="ADAL" clId="{2D4A597C-E1BB-4683-9B76-92B22F6EDF8A}" dt="2021-06-01T12:52:09.609" v="6631" actId="2696"/>
        <pc:sldMkLst>
          <pc:docMk/>
          <pc:sldMk cId="647193296" sldId="4155"/>
        </pc:sldMkLst>
        <pc:spChg chg="mod">
          <ac:chgData name="Rachel Isaacson" userId="eb36bbd2-09ed-43a6-bb04-b0cadb884c56" providerId="ADAL" clId="{2D4A597C-E1BB-4683-9B76-92B22F6EDF8A}" dt="2021-05-26T14:59:23.668" v="1200" actId="20577"/>
          <ac:spMkLst>
            <pc:docMk/>
            <pc:sldMk cId="647193296" sldId="4155"/>
            <ac:spMk id="2" creationId="{F900B455-B5FD-428B-B974-D9EFD6B43C15}"/>
          </ac:spMkLst>
        </pc:spChg>
        <pc:spChg chg="mod">
          <ac:chgData name="Rachel Isaacson" userId="eb36bbd2-09ed-43a6-bb04-b0cadb884c56" providerId="ADAL" clId="{2D4A597C-E1BB-4683-9B76-92B22F6EDF8A}" dt="2021-05-26T18:19:20.340" v="4196" actId="403"/>
          <ac:spMkLst>
            <pc:docMk/>
            <pc:sldMk cId="647193296" sldId="4155"/>
            <ac:spMk id="3" creationId="{0A2FD8EA-408F-4E8D-8F23-490E8DEC0AA2}"/>
          </ac:spMkLst>
        </pc:spChg>
      </pc:sldChg>
      <pc:sldChg chg="modSp add del mod modNotesTx">
        <pc:chgData name="Rachel Isaacson" userId="eb36bbd2-09ed-43a6-bb04-b0cadb884c56" providerId="ADAL" clId="{2D4A597C-E1BB-4683-9B76-92B22F6EDF8A}" dt="2021-06-01T12:52:09.609" v="6631" actId="2696"/>
        <pc:sldMkLst>
          <pc:docMk/>
          <pc:sldMk cId="3822602019" sldId="4159"/>
        </pc:sldMkLst>
        <pc:spChg chg="mod">
          <ac:chgData name="Rachel Isaacson" userId="eb36bbd2-09ed-43a6-bb04-b0cadb884c56" providerId="ADAL" clId="{2D4A597C-E1BB-4683-9B76-92B22F6EDF8A}" dt="2021-05-26T15:01:31.604" v="1305" actId="20577"/>
          <ac:spMkLst>
            <pc:docMk/>
            <pc:sldMk cId="3822602019" sldId="4159"/>
            <ac:spMk id="2" creationId="{F900B455-B5FD-428B-B974-D9EFD6B43C15}"/>
          </ac:spMkLst>
        </pc:spChg>
        <pc:spChg chg="mod">
          <ac:chgData name="Rachel Isaacson" userId="eb36bbd2-09ed-43a6-bb04-b0cadb884c56" providerId="ADAL" clId="{2D4A597C-E1BB-4683-9B76-92B22F6EDF8A}" dt="2021-05-26T18:19:33.082" v="4198" actId="403"/>
          <ac:spMkLst>
            <pc:docMk/>
            <pc:sldMk cId="3822602019" sldId="4159"/>
            <ac:spMk id="3" creationId="{0A2FD8EA-408F-4E8D-8F23-490E8DEC0AA2}"/>
          </ac:spMkLst>
        </pc:spChg>
      </pc:sldChg>
      <pc:sldChg chg="modSp add del mod modNotesTx">
        <pc:chgData name="Rachel Isaacson" userId="eb36bbd2-09ed-43a6-bb04-b0cadb884c56" providerId="ADAL" clId="{2D4A597C-E1BB-4683-9B76-92B22F6EDF8A}" dt="2021-06-01T12:52:09.609" v="6631" actId="2696"/>
        <pc:sldMkLst>
          <pc:docMk/>
          <pc:sldMk cId="1356566739" sldId="4160"/>
        </pc:sldMkLst>
        <pc:spChg chg="mod">
          <ac:chgData name="Rachel Isaacson" userId="eb36bbd2-09ed-43a6-bb04-b0cadb884c56" providerId="ADAL" clId="{2D4A597C-E1BB-4683-9B76-92B22F6EDF8A}" dt="2021-05-26T15:05:31.751" v="1524" actId="20577"/>
          <ac:spMkLst>
            <pc:docMk/>
            <pc:sldMk cId="1356566739" sldId="4160"/>
            <ac:spMk id="2" creationId="{F900B455-B5FD-428B-B974-D9EFD6B43C15}"/>
          </ac:spMkLst>
        </pc:spChg>
        <pc:spChg chg="mod">
          <ac:chgData name="Rachel Isaacson" userId="eb36bbd2-09ed-43a6-bb04-b0cadb884c56" providerId="ADAL" clId="{2D4A597C-E1BB-4683-9B76-92B22F6EDF8A}" dt="2021-05-26T18:19:37.587" v="4199" actId="403"/>
          <ac:spMkLst>
            <pc:docMk/>
            <pc:sldMk cId="1356566739" sldId="4160"/>
            <ac:spMk id="3" creationId="{0A2FD8EA-408F-4E8D-8F23-490E8DEC0AA2}"/>
          </ac:spMkLst>
        </pc:spChg>
      </pc:sldChg>
      <pc:sldChg chg="modSp add del mod">
        <pc:chgData name="Rachel Isaacson" userId="eb36bbd2-09ed-43a6-bb04-b0cadb884c56" providerId="ADAL" clId="{2D4A597C-E1BB-4683-9B76-92B22F6EDF8A}" dt="2021-05-26T18:17:49.155" v="4178" actId="2696"/>
        <pc:sldMkLst>
          <pc:docMk/>
          <pc:sldMk cId="875391030" sldId="4161"/>
        </pc:sldMkLst>
        <pc:spChg chg="mod">
          <ac:chgData name="Rachel Isaacson" userId="eb36bbd2-09ed-43a6-bb04-b0cadb884c56" providerId="ADAL" clId="{2D4A597C-E1BB-4683-9B76-92B22F6EDF8A}" dt="2021-05-26T14:55:44.462" v="692" actId="1076"/>
          <ac:spMkLst>
            <pc:docMk/>
            <pc:sldMk cId="875391030" sldId="4161"/>
            <ac:spMk id="5" creationId="{D3915D3D-656E-48AA-8D63-358A7E5AA453}"/>
          </ac:spMkLst>
        </pc:spChg>
      </pc:sldChg>
      <pc:sldChg chg="del">
        <pc:chgData name="Rachel Isaacson" userId="eb36bbd2-09ed-43a6-bb04-b0cadb884c56" providerId="ADAL" clId="{2D4A597C-E1BB-4683-9B76-92B22F6EDF8A}" dt="2021-05-26T12:36:34.585" v="19" actId="2696"/>
        <pc:sldMkLst>
          <pc:docMk/>
          <pc:sldMk cId="1402217801" sldId="4161"/>
        </pc:sldMkLst>
      </pc:sldChg>
      <pc:sldChg chg="modSp add mod addCm modCm">
        <pc:chgData name="Rachel Isaacson" userId="eb36bbd2-09ed-43a6-bb04-b0cadb884c56" providerId="ADAL" clId="{2D4A597C-E1BB-4683-9B76-92B22F6EDF8A}" dt="2021-06-01T13:10:33.371" v="7216" actId="1589"/>
        <pc:sldMkLst>
          <pc:docMk/>
          <pc:sldMk cId="1582823993" sldId="4162"/>
        </pc:sldMkLst>
        <pc:spChg chg="mod">
          <ac:chgData name="Rachel Isaacson" userId="eb36bbd2-09ed-43a6-bb04-b0cadb884c56" providerId="ADAL" clId="{2D4A597C-E1BB-4683-9B76-92B22F6EDF8A}" dt="2021-06-01T12:59:38.741" v="6657" actId="20577"/>
          <ac:spMkLst>
            <pc:docMk/>
            <pc:sldMk cId="1582823993" sldId="4162"/>
            <ac:spMk id="2" creationId="{CE520C66-4A72-4D9F-8CA2-37792391F489}"/>
          </ac:spMkLst>
        </pc:spChg>
        <pc:spChg chg="mod">
          <ac:chgData name="Rachel Isaacson" userId="eb36bbd2-09ed-43a6-bb04-b0cadb884c56" providerId="ADAL" clId="{2D4A597C-E1BB-4683-9B76-92B22F6EDF8A}" dt="2021-06-01T13:08:26.272" v="7032" actId="6549"/>
          <ac:spMkLst>
            <pc:docMk/>
            <pc:sldMk cId="1582823993" sldId="4162"/>
            <ac:spMk id="3" creationId="{789EBB61-BF5A-4C35-881F-E12FEF30E1AF}"/>
          </ac:spMkLst>
        </pc:spChg>
      </pc:sldChg>
      <pc:sldChg chg="del">
        <pc:chgData name="Rachel Isaacson" userId="eb36bbd2-09ed-43a6-bb04-b0cadb884c56" providerId="ADAL" clId="{2D4A597C-E1BB-4683-9B76-92B22F6EDF8A}" dt="2021-05-26T12:36:34.585" v="19" actId="2696"/>
        <pc:sldMkLst>
          <pc:docMk/>
          <pc:sldMk cId="1644792338" sldId="4162"/>
        </pc:sldMkLst>
      </pc:sldChg>
      <pc:sldChg chg="del">
        <pc:chgData name="Rachel Isaacson" userId="eb36bbd2-09ed-43a6-bb04-b0cadb884c56" providerId="ADAL" clId="{2D4A597C-E1BB-4683-9B76-92B22F6EDF8A}" dt="2021-05-26T12:36:34.585" v="19" actId="2696"/>
        <pc:sldMkLst>
          <pc:docMk/>
          <pc:sldMk cId="1301984362" sldId="4163"/>
        </pc:sldMkLst>
      </pc:sldChg>
      <pc:sldChg chg="modSp add del mod addCm delCm modCm">
        <pc:chgData name="Rachel Isaacson" userId="eb36bbd2-09ed-43a6-bb04-b0cadb884c56" providerId="ADAL" clId="{2D4A597C-E1BB-4683-9B76-92B22F6EDF8A}" dt="2021-06-01T13:17:43.294" v="7657" actId="2696"/>
        <pc:sldMkLst>
          <pc:docMk/>
          <pc:sldMk cId="1438496191" sldId="4163"/>
        </pc:sldMkLst>
        <pc:spChg chg="mod">
          <ac:chgData name="Rachel Isaacson" userId="eb36bbd2-09ed-43a6-bb04-b0cadb884c56" providerId="ADAL" clId="{2D4A597C-E1BB-4683-9B76-92B22F6EDF8A}" dt="2021-05-26T15:08:19.152" v="1916" actId="6549"/>
          <ac:spMkLst>
            <pc:docMk/>
            <pc:sldMk cId="1438496191" sldId="4163"/>
            <ac:spMk id="2" creationId="{CE520C66-4A72-4D9F-8CA2-37792391F489}"/>
          </ac:spMkLst>
        </pc:spChg>
        <pc:spChg chg="mod">
          <ac:chgData name="Rachel Isaacson" userId="eb36bbd2-09ed-43a6-bb04-b0cadb884c56" providerId="ADAL" clId="{2D4A597C-E1BB-4683-9B76-92B22F6EDF8A}" dt="2021-05-27T14:38:02.656" v="6420" actId="20577"/>
          <ac:spMkLst>
            <pc:docMk/>
            <pc:sldMk cId="1438496191" sldId="4163"/>
            <ac:spMk id="3" creationId="{789EBB61-BF5A-4C35-881F-E12FEF30E1AF}"/>
          </ac:spMkLst>
        </pc:spChg>
      </pc:sldChg>
      <pc:sldChg chg="modSp add mod addCm delCm modCm">
        <pc:chgData name="Rachel Isaacson" userId="eb36bbd2-09ed-43a6-bb04-b0cadb884c56" providerId="ADAL" clId="{2D4A597C-E1BB-4683-9B76-92B22F6EDF8A}" dt="2021-06-02T16:34:10.527" v="9267" actId="20577"/>
        <pc:sldMkLst>
          <pc:docMk/>
          <pc:sldMk cId="169575888" sldId="4164"/>
        </pc:sldMkLst>
        <pc:spChg chg="mod">
          <ac:chgData name="Rachel Isaacson" userId="eb36bbd2-09ed-43a6-bb04-b0cadb884c56" providerId="ADAL" clId="{2D4A597C-E1BB-4683-9B76-92B22F6EDF8A}" dt="2021-06-02T16:34:10.527" v="9267" actId="20577"/>
          <ac:spMkLst>
            <pc:docMk/>
            <pc:sldMk cId="169575888" sldId="4164"/>
            <ac:spMk id="3" creationId="{789EBB61-BF5A-4C35-881F-E12FEF30E1AF}"/>
          </ac:spMkLst>
        </pc:spChg>
      </pc:sldChg>
      <pc:sldChg chg="del">
        <pc:chgData name="Rachel Isaacson" userId="eb36bbd2-09ed-43a6-bb04-b0cadb884c56" providerId="ADAL" clId="{2D4A597C-E1BB-4683-9B76-92B22F6EDF8A}" dt="2021-05-26T12:36:34.585" v="19" actId="2696"/>
        <pc:sldMkLst>
          <pc:docMk/>
          <pc:sldMk cId="1207057744" sldId="4165"/>
        </pc:sldMkLst>
      </pc:sldChg>
      <pc:sldChg chg="new del">
        <pc:chgData name="Rachel Isaacson" userId="eb36bbd2-09ed-43a6-bb04-b0cadb884c56" providerId="ADAL" clId="{2D4A597C-E1BB-4683-9B76-92B22F6EDF8A}" dt="2021-05-26T16:03:06.630" v="3411" actId="2696"/>
        <pc:sldMkLst>
          <pc:docMk/>
          <pc:sldMk cId="2068721329" sldId="4165"/>
        </pc:sldMkLst>
      </pc:sldChg>
      <pc:sldChg chg="addSp modSp add del mod ord">
        <pc:chgData name="Rachel Isaacson" userId="eb36bbd2-09ed-43a6-bb04-b0cadb884c56" providerId="ADAL" clId="{2D4A597C-E1BB-4683-9B76-92B22F6EDF8A}" dt="2021-05-26T18:56:33.940" v="4810" actId="2696"/>
        <pc:sldMkLst>
          <pc:docMk/>
          <pc:sldMk cId="2959119988" sldId="4165"/>
        </pc:sldMkLst>
        <pc:spChg chg="mod">
          <ac:chgData name="Rachel Isaacson" userId="eb36bbd2-09ed-43a6-bb04-b0cadb884c56" providerId="ADAL" clId="{2D4A597C-E1BB-4683-9B76-92B22F6EDF8A}" dt="2021-05-26T18:21:07.849" v="4337" actId="20577"/>
          <ac:spMkLst>
            <pc:docMk/>
            <pc:sldMk cId="2959119988" sldId="4165"/>
            <ac:spMk id="2" creationId="{CE520C66-4A72-4D9F-8CA2-37792391F489}"/>
          </ac:spMkLst>
        </pc:spChg>
        <pc:spChg chg="mod">
          <ac:chgData name="Rachel Isaacson" userId="eb36bbd2-09ed-43a6-bb04-b0cadb884c56" providerId="ADAL" clId="{2D4A597C-E1BB-4683-9B76-92B22F6EDF8A}" dt="2021-05-26T16:03:22.261" v="3473" actId="20577"/>
          <ac:spMkLst>
            <pc:docMk/>
            <pc:sldMk cId="2959119988" sldId="4165"/>
            <ac:spMk id="3" creationId="{789EBB61-BF5A-4C35-881F-E12FEF30E1AF}"/>
          </ac:spMkLst>
        </pc:spChg>
        <pc:spChg chg="add mod">
          <ac:chgData name="Rachel Isaacson" userId="eb36bbd2-09ed-43a6-bb04-b0cadb884c56" providerId="ADAL" clId="{2D4A597C-E1BB-4683-9B76-92B22F6EDF8A}" dt="2021-05-26T18:56:31.551" v="4809" actId="21"/>
          <ac:spMkLst>
            <pc:docMk/>
            <pc:sldMk cId="2959119988" sldId="4165"/>
            <ac:spMk id="4" creationId="{C28E06FC-6CFE-4F80-9783-644BD1C54E34}"/>
          </ac:spMkLst>
        </pc:spChg>
      </pc:sldChg>
      <pc:sldChg chg="del">
        <pc:chgData name="Rachel Isaacson" userId="eb36bbd2-09ed-43a6-bb04-b0cadb884c56" providerId="ADAL" clId="{2D4A597C-E1BB-4683-9B76-92B22F6EDF8A}" dt="2021-05-26T12:36:34.585" v="19" actId="2696"/>
        <pc:sldMkLst>
          <pc:docMk/>
          <pc:sldMk cId="708145160" sldId="4166"/>
        </pc:sldMkLst>
      </pc:sldChg>
      <pc:sldChg chg="modSp add mod ord addCm modCm">
        <pc:chgData name="Rachel Isaacson" userId="eb36bbd2-09ed-43a6-bb04-b0cadb884c56" providerId="ADAL" clId="{2D4A597C-E1BB-4683-9B76-92B22F6EDF8A}" dt="2021-06-02T16:39:39.854" v="9288"/>
        <pc:sldMkLst>
          <pc:docMk/>
          <pc:sldMk cId="2127285873" sldId="4166"/>
        </pc:sldMkLst>
        <pc:spChg chg="mod">
          <ac:chgData name="Rachel Isaacson" userId="eb36bbd2-09ed-43a6-bb04-b0cadb884c56" providerId="ADAL" clId="{2D4A597C-E1BB-4683-9B76-92B22F6EDF8A}" dt="2021-05-26T19:15:08.688" v="6071" actId="20577"/>
          <ac:spMkLst>
            <pc:docMk/>
            <pc:sldMk cId="2127285873" sldId="4166"/>
            <ac:spMk id="2" creationId="{CE520C66-4A72-4D9F-8CA2-37792391F489}"/>
          </ac:spMkLst>
        </pc:spChg>
        <pc:spChg chg="mod">
          <ac:chgData name="Rachel Isaacson" userId="eb36bbd2-09ed-43a6-bb04-b0cadb884c56" providerId="ADAL" clId="{2D4A597C-E1BB-4683-9B76-92B22F6EDF8A}" dt="2021-05-26T19:14:48.162" v="6056"/>
          <ac:spMkLst>
            <pc:docMk/>
            <pc:sldMk cId="2127285873" sldId="4166"/>
            <ac:spMk id="3" creationId="{789EBB61-BF5A-4C35-881F-E12FEF30E1AF}"/>
          </ac:spMkLst>
        </pc:spChg>
      </pc:sldChg>
      <pc:sldChg chg="modSp add del mod ord">
        <pc:chgData name="Rachel Isaacson" userId="eb36bbd2-09ed-43a6-bb04-b0cadb884c56" providerId="ADAL" clId="{2D4A597C-E1BB-4683-9B76-92B22F6EDF8A}" dt="2021-05-26T18:21:41.052" v="4352" actId="2696"/>
        <pc:sldMkLst>
          <pc:docMk/>
          <pc:sldMk cId="357340894" sldId="4167"/>
        </pc:sldMkLst>
        <pc:spChg chg="mod">
          <ac:chgData name="Rachel Isaacson" userId="eb36bbd2-09ed-43a6-bb04-b0cadb884c56" providerId="ADAL" clId="{2D4A597C-E1BB-4683-9B76-92B22F6EDF8A}" dt="2021-05-26T16:57:15.617" v="3491" actId="1076"/>
          <ac:spMkLst>
            <pc:docMk/>
            <pc:sldMk cId="357340894" sldId="4167"/>
            <ac:spMk id="5" creationId="{D3915D3D-656E-48AA-8D63-358A7E5AA453}"/>
          </ac:spMkLst>
        </pc:spChg>
      </pc:sldChg>
      <pc:sldChg chg="add del">
        <pc:chgData name="Rachel Isaacson" userId="eb36bbd2-09ed-43a6-bb04-b0cadb884c56" providerId="ADAL" clId="{2D4A597C-E1BB-4683-9B76-92B22F6EDF8A}" dt="2021-05-27T14:37:12.127" v="6259"/>
        <pc:sldMkLst>
          <pc:docMk/>
          <pc:sldMk cId="2516427978" sldId="4167"/>
        </pc:sldMkLst>
      </pc:sldChg>
      <pc:sldChg chg="add del">
        <pc:chgData name="Rachel Isaacson" userId="eb36bbd2-09ed-43a6-bb04-b0cadb884c56" providerId="ADAL" clId="{2D4A597C-E1BB-4683-9B76-92B22F6EDF8A}" dt="2021-05-26T18:22:23.161" v="4413" actId="2696"/>
        <pc:sldMkLst>
          <pc:docMk/>
          <pc:sldMk cId="2740157943" sldId="4168"/>
        </pc:sldMkLst>
      </pc:sldChg>
      <pc:sldChg chg="add">
        <pc:chgData name="Rachel Isaacson" userId="eb36bbd2-09ed-43a6-bb04-b0cadb884c56" providerId="ADAL" clId="{2D4A597C-E1BB-4683-9B76-92B22F6EDF8A}" dt="2021-05-26T16:57:01.497" v="3485" actId="2890"/>
        <pc:sldMkLst>
          <pc:docMk/>
          <pc:sldMk cId="1716372603" sldId="4169"/>
        </pc:sldMkLst>
      </pc:sldChg>
      <pc:sldChg chg="add del">
        <pc:chgData name="Rachel Isaacson" userId="eb36bbd2-09ed-43a6-bb04-b0cadb884c56" providerId="ADAL" clId="{2D4A597C-E1BB-4683-9B76-92B22F6EDF8A}" dt="2021-05-26T18:22:12.455" v="4410" actId="2696"/>
        <pc:sldMkLst>
          <pc:docMk/>
          <pc:sldMk cId="3112228762" sldId="4170"/>
        </pc:sldMkLst>
      </pc:sldChg>
      <pc:sldChg chg="add del ord">
        <pc:chgData name="Rachel Isaacson" userId="eb36bbd2-09ed-43a6-bb04-b0cadb884c56" providerId="ADAL" clId="{2D4A597C-E1BB-4683-9B76-92B22F6EDF8A}" dt="2021-05-26T19:15:22.990" v="6072" actId="2696"/>
        <pc:sldMkLst>
          <pc:docMk/>
          <pc:sldMk cId="772562369" sldId="4171"/>
        </pc:sldMkLst>
      </pc:sldChg>
      <pc:sldChg chg="add del ord">
        <pc:chgData name="Rachel Isaacson" userId="eb36bbd2-09ed-43a6-bb04-b0cadb884c56" providerId="ADAL" clId="{2D4A597C-E1BB-4683-9B76-92B22F6EDF8A}" dt="2021-05-26T18:20:41.132" v="4260" actId="2696"/>
        <pc:sldMkLst>
          <pc:docMk/>
          <pc:sldMk cId="3944386426" sldId="4172"/>
        </pc:sldMkLst>
      </pc:sldChg>
      <pc:sldChg chg="modSp add del mod delCm">
        <pc:chgData name="Rachel Isaacson" userId="eb36bbd2-09ed-43a6-bb04-b0cadb884c56" providerId="ADAL" clId="{2D4A597C-E1BB-4683-9B76-92B22F6EDF8A}" dt="2021-06-01T13:13:52.033" v="7346" actId="2696"/>
        <pc:sldMkLst>
          <pc:docMk/>
          <pc:sldMk cId="3374410590" sldId="4173"/>
        </pc:sldMkLst>
        <pc:spChg chg="mod">
          <ac:chgData name="Rachel Isaacson" userId="eb36bbd2-09ed-43a6-bb04-b0cadb884c56" providerId="ADAL" clId="{2D4A597C-E1BB-4683-9B76-92B22F6EDF8A}" dt="2021-06-01T12:52:16.732" v="6633" actId="20577"/>
          <ac:spMkLst>
            <pc:docMk/>
            <pc:sldMk cId="3374410590" sldId="4173"/>
            <ac:spMk id="3" creationId="{8E396B14-F9D7-4ACC-AED3-6E88E76396F5}"/>
          </ac:spMkLst>
        </pc:spChg>
        <pc:spChg chg="mod">
          <ac:chgData name="Rachel Isaacson" userId="eb36bbd2-09ed-43a6-bb04-b0cadb884c56" providerId="ADAL" clId="{2D4A597C-E1BB-4683-9B76-92B22F6EDF8A}" dt="2021-05-26T18:17:52.280" v="4179" actId="1076"/>
          <ac:spMkLst>
            <pc:docMk/>
            <pc:sldMk cId="3374410590" sldId="4173"/>
            <ac:spMk id="5" creationId="{D3915D3D-656E-48AA-8D63-358A7E5AA453}"/>
          </ac:spMkLst>
        </pc:spChg>
      </pc:sldChg>
      <pc:sldChg chg="modSp add del mod ord">
        <pc:chgData name="Rachel Isaacson" userId="eb36bbd2-09ed-43a6-bb04-b0cadb884c56" providerId="ADAL" clId="{2D4A597C-E1BB-4683-9B76-92B22F6EDF8A}" dt="2021-06-01T13:14:10.035" v="7352" actId="2696"/>
        <pc:sldMkLst>
          <pc:docMk/>
          <pc:sldMk cId="2260052772" sldId="4174"/>
        </pc:sldMkLst>
        <pc:spChg chg="mod">
          <ac:chgData name="Rachel Isaacson" userId="eb36bbd2-09ed-43a6-bb04-b0cadb884c56" providerId="ADAL" clId="{2D4A597C-E1BB-4683-9B76-92B22F6EDF8A}" dt="2021-05-26T19:14:10.985" v="6049"/>
          <ac:spMkLst>
            <pc:docMk/>
            <pc:sldMk cId="2260052772" sldId="4174"/>
            <ac:spMk id="3" creationId="{8E396B14-F9D7-4ACC-AED3-6E88E76396F5}"/>
          </ac:spMkLst>
        </pc:spChg>
        <pc:spChg chg="mod">
          <ac:chgData name="Rachel Isaacson" userId="eb36bbd2-09ed-43a6-bb04-b0cadb884c56" providerId="ADAL" clId="{2D4A597C-E1BB-4683-9B76-92B22F6EDF8A}" dt="2021-05-26T18:20:38.897" v="4259" actId="1076"/>
          <ac:spMkLst>
            <pc:docMk/>
            <pc:sldMk cId="2260052772" sldId="4174"/>
            <ac:spMk id="5" creationId="{D3915D3D-656E-48AA-8D63-358A7E5AA453}"/>
          </ac:spMkLst>
        </pc:spChg>
      </pc:sldChg>
      <pc:sldChg chg="modSp add del mod">
        <pc:chgData name="Rachel Isaacson" userId="eb36bbd2-09ed-43a6-bb04-b0cadb884c56" providerId="ADAL" clId="{2D4A597C-E1BB-4683-9B76-92B22F6EDF8A}" dt="2021-05-26T19:04:46.844" v="5733" actId="2696"/>
        <pc:sldMkLst>
          <pc:docMk/>
          <pc:sldMk cId="3251981108" sldId="4175"/>
        </pc:sldMkLst>
        <pc:spChg chg="mod">
          <ac:chgData name="Rachel Isaacson" userId="eb36bbd2-09ed-43a6-bb04-b0cadb884c56" providerId="ADAL" clId="{2D4A597C-E1BB-4683-9B76-92B22F6EDF8A}" dt="2021-05-26T18:21:34.087" v="4348"/>
          <ac:spMkLst>
            <pc:docMk/>
            <pc:sldMk cId="3251981108" sldId="4175"/>
            <ac:spMk id="2" creationId="{CE520C66-4A72-4D9F-8CA2-37792391F489}"/>
          </ac:spMkLst>
        </pc:spChg>
        <pc:spChg chg="mod">
          <ac:chgData name="Rachel Isaacson" userId="eb36bbd2-09ed-43a6-bb04-b0cadb884c56" providerId="ADAL" clId="{2D4A597C-E1BB-4683-9B76-92B22F6EDF8A}" dt="2021-05-26T19:04:37.799" v="5732" actId="20577"/>
          <ac:spMkLst>
            <pc:docMk/>
            <pc:sldMk cId="3251981108" sldId="4175"/>
            <ac:spMk id="4" creationId="{C28E06FC-6CFE-4F80-9783-644BD1C54E34}"/>
          </ac:spMkLst>
        </pc:spChg>
      </pc:sldChg>
      <pc:sldChg chg="modSp add del mod ord">
        <pc:chgData name="Rachel Isaacson" userId="eb36bbd2-09ed-43a6-bb04-b0cadb884c56" providerId="ADAL" clId="{2D4A597C-E1BB-4683-9B76-92B22F6EDF8A}" dt="2021-06-01T14:09:20.104" v="8634" actId="2696"/>
        <pc:sldMkLst>
          <pc:docMk/>
          <pc:sldMk cId="607978333" sldId="4176"/>
        </pc:sldMkLst>
        <pc:spChg chg="mod">
          <ac:chgData name="Rachel Isaacson" userId="eb36bbd2-09ed-43a6-bb04-b0cadb884c56" providerId="ADAL" clId="{2D4A597C-E1BB-4683-9B76-92B22F6EDF8A}" dt="2021-05-26T19:14:18.478" v="6053"/>
          <ac:spMkLst>
            <pc:docMk/>
            <pc:sldMk cId="607978333" sldId="4176"/>
            <ac:spMk id="3" creationId="{8E396B14-F9D7-4ACC-AED3-6E88E76396F5}"/>
          </ac:spMkLst>
        </pc:spChg>
        <pc:spChg chg="mod">
          <ac:chgData name="Rachel Isaacson" userId="eb36bbd2-09ed-43a6-bb04-b0cadb884c56" providerId="ADAL" clId="{2D4A597C-E1BB-4683-9B76-92B22F6EDF8A}" dt="2021-05-26T19:15:02.204" v="6058" actId="1076"/>
          <ac:spMkLst>
            <pc:docMk/>
            <pc:sldMk cId="607978333" sldId="4176"/>
            <ac:spMk id="5" creationId="{D3915D3D-656E-48AA-8D63-358A7E5AA453}"/>
          </ac:spMkLst>
        </pc:spChg>
      </pc:sldChg>
      <pc:sldChg chg="modSp add del mod ord">
        <pc:chgData name="Rachel Isaacson" userId="eb36bbd2-09ed-43a6-bb04-b0cadb884c56" providerId="ADAL" clId="{2D4A597C-E1BB-4683-9B76-92B22F6EDF8A}" dt="2021-06-01T14:09:38.167" v="8639" actId="2696"/>
        <pc:sldMkLst>
          <pc:docMk/>
          <pc:sldMk cId="1749676024" sldId="4177"/>
        </pc:sldMkLst>
        <pc:spChg chg="mod">
          <ac:chgData name="Rachel Isaacson" userId="eb36bbd2-09ed-43a6-bb04-b0cadb884c56" providerId="ADAL" clId="{2D4A597C-E1BB-4683-9B76-92B22F6EDF8A}" dt="2021-05-26T19:14:24.667" v="6055"/>
          <ac:spMkLst>
            <pc:docMk/>
            <pc:sldMk cId="1749676024" sldId="4177"/>
            <ac:spMk id="3" creationId="{8E396B14-F9D7-4ACC-AED3-6E88E76396F5}"/>
          </ac:spMkLst>
        </pc:spChg>
        <pc:spChg chg="mod">
          <ac:chgData name="Rachel Isaacson" userId="eb36bbd2-09ed-43a6-bb04-b0cadb884c56" providerId="ADAL" clId="{2D4A597C-E1BB-4683-9B76-92B22F6EDF8A}" dt="2021-05-26T18:22:28.344" v="4415" actId="1076"/>
          <ac:spMkLst>
            <pc:docMk/>
            <pc:sldMk cId="1749676024" sldId="4177"/>
            <ac:spMk id="5" creationId="{D3915D3D-656E-48AA-8D63-358A7E5AA453}"/>
          </ac:spMkLst>
        </pc:spChg>
      </pc:sldChg>
      <pc:sldChg chg="modSp add del mod">
        <pc:chgData name="Rachel Isaacson" userId="eb36bbd2-09ed-43a6-bb04-b0cadb884c56" providerId="ADAL" clId="{2D4A597C-E1BB-4683-9B76-92B22F6EDF8A}" dt="2021-05-26T19:03:54.993" v="5621" actId="2696"/>
        <pc:sldMkLst>
          <pc:docMk/>
          <pc:sldMk cId="4202934308" sldId="4178"/>
        </pc:sldMkLst>
        <pc:spChg chg="mod">
          <ac:chgData name="Rachel Isaacson" userId="eb36bbd2-09ed-43a6-bb04-b0cadb884c56" providerId="ADAL" clId="{2D4A597C-E1BB-4683-9B76-92B22F6EDF8A}" dt="2021-05-26T19:01:57.065" v="5319" actId="20577"/>
          <ac:spMkLst>
            <pc:docMk/>
            <pc:sldMk cId="4202934308" sldId="4178"/>
            <ac:spMk id="4" creationId="{C28E06FC-6CFE-4F80-9783-644BD1C54E34}"/>
          </ac:spMkLst>
        </pc:spChg>
      </pc:sldChg>
      <pc:sldChg chg="addSp modSp add mod ord addCm delCm modCm">
        <pc:chgData name="Rachel Isaacson" userId="eb36bbd2-09ed-43a6-bb04-b0cadb884c56" providerId="ADAL" clId="{2D4A597C-E1BB-4683-9B76-92B22F6EDF8A}" dt="2021-06-01T13:57:29.200" v="8559" actId="1592"/>
        <pc:sldMkLst>
          <pc:docMk/>
          <pc:sldMk cId="2558297312" sldId="4179"/>
        </pc:sldMkLst>
        <pc:spChg chg="mod">
          <ac:chgData name="Rachel Isaacson" userId="eb36bbd2-09ed-43a6-bb04-b0cadb884c56" providerId="ADAL" clId="{2D4A597C-E1BB-4683-9B76-92B22F6EDF8A}" dt="2021-05-26T19:01:29.197" v="5256" actId="20577"/>
          <ac:spMkLst>
            <pc:docMk/>
            <pc:sldMk cId="2558297312" sldId="4179"/>
            <ac:spMk id="2" creationId="{CE520C66-4A72-4D9F-8CA2-37792391F489}"/>
          </ac:spMkLst>
        </pc:spChg>
        <pc:spChg chg="mod">
          <ac:chgData name="Rachel Isaacson" userId="eb36bbd2-09ed-43a6-bb04-b0cadb884c56" providerId="ADAL" clId="{2D4A597C-E1BB-4683-9B76-92B22F6EDF8A}" dt="2021-05-26T18:59:08.904" v="5230" actId="6549"/>
          <ac:spMkLst>
            <pc:docMk/>
            <pc:sldMk cId="2558297312" sldId="4179"/>
            <ac:spMk id="4" creationId="{C28E06FC-6CFE-4F80-9783-644BD1C54E34}"/>
          </ac:spMkLst>
        </pc:spChg>
        <pc:picChg chg="add mod">
          <ac:chgData name="Rachel Isaacson" userId="eb36bbd2-09ed-43a6-bb04-b0cadb884c56" providerId="ADAL" clId="{2D4A597C-E1BB-4683-9B76-92B22F6EDF8A}" dt="2021-05-26T18:59:13.342" v="5231" actId="1076"/>
          <ac:picMkLst>
            <pc:docMk/>
            <pc:sldMk cId="2558297312" sldId="4179"/>
            <ac:picMk id="6" creationId="{70CE2E7A-93F2-4B52-A85E-D1E2F6251286}"/>
          </ac:picMkLst>
        </pc:picChg>
      </pc:sldChg>
      <pc:sldChg chg="addSp delSp modSp add del mod">
        <pc:chgData name="Rachel Isaacson" userId="eb36bbd2-09ed-43a6-bb04-b0cadb884c56" providerId="ADAL" clId="{2D4A597C-E1BB-4683-9B76-92B22F6EDF8A}" dt="2021-06-01T13:57:40.625" v="8560" actId="2696"/>
        <pc:sldMkLst>
          <pc:docMk/>
          <pc:sldMk cId="740120548" sldId="4180"/>
        </pc:sldMkLst>
        <pc:spChg chg="mod">
          <ac:chgData name="Rachel Isaacson" userId="eb36bbd2-09ed-43a6-bb04-b0cadb884c56" providerId="ADAL" clId="{2D4A597C-E1BB-4683-9B76-92B22F6EDF8A}" dt="2021-05-26T19:01:35.834" v="5257"/>
          <ac:spMkLst>
            <pc:docMk/>
            <pc:sldMk cId="740120548" sldId="4180"/>
            <ac:spMk id="2" creationId="{CE520C66-4A72-4D9F-8CA2-37792391F489}"/>
          </ac:spMkLst>
        </pc:spChg>
        <pc:spChg chg="mod">
          <ac:chgData name="Rachel Isaacson" userId="eb36bbd2-09ed-43a6-bb04-b0cadb884c56" providerId="ADAL" clId="{2D4A597C-E1BB-4683-9B76-92B22F6EDF8A}" dt="2021-05-26T19:00:40.752" v="5241" actId="21"/>
          <ac:spMkLst>
            <pc:docMk/>
            <pc:sldMk cId="740120548" sldId="4180"/>
            <ac:spMk id="4" creationId="{C28E06FC-6CFE-4F80-9783-644BD1C54E34}"/>
          </ac:spMkLst>
        </pc:spChg>
        <pc:picChg chg="add del mod">
          <ac:chgData name="Rachel Isaacson" userId="eb36bbd2-09ed-43a6-bb04-b0cadb884c56" providerId="ADAL" clId="{2D4A597C-E1BB-4683-9B76-92B22F6EDF8A}" dt="2021-05-26T19:01:09.066" v="5250" actId="478"/>
          <ac:picMkLst>
            <pc:docMk/>
            <pc:sldMk cId="740120548" sldId="4180"/>
            <ac:picMk id="5" creationId="{1E0B0755-5B4C-4DF6-9CD0-741D67DFBA20}"/>
          </ac:picMkLst>
        </pc:picChg>
        <pc:picChg chg="add mod">
          <ac:chgData name="Rachel Isaacson" userId="eb36bbd2-09ed-43a6-bb04-b0cadb884c56" providerId="ADAL" clId="{2D4A597C-E1BB-4683-9B76-92B22F6EDF8A}" dt="2021-05-26T19:01:15.173" v="5252" actId="1076"/>
          <ac:picMkLst>
            <pc:docMk/>
            <pc:sldMk cId="740120548" sldId="4180"/>
            <ac:picMk id="6" creationId="{55384AAA-D67E-4E4D-81FD-BE0F6D57E523}"/>
          </ac:picMkLst>
        </pc:picChg>
      </pc:sldChg>
      <pc:sldChg chg="new del">
        <pc:chgData name="Rachel Isaacson" userId="eb36bbd2-09ed-43a6-bb04-b0cadb884c56" providerId="ADAL" clId="{2D4A597C-E1BB-4683-9B76-92B22F6EDF8A}" dt="2021-05-26T19:00:48.582" v="5243" actId="2696"/>
        <pc:sldMkLst>
          <pc:docMk/>
          <pc:sldMk cId="14247374" sldId="4181"/>
        </pc:sldMkLst>
      </pc:sldChg>
      <pc:sldChg chg="delSp modSp add mod delCm">
        <pc:chgData name="Rachel Isaacson" userId="eb36bbd2-09ed-43a6-bb04-b0cadb884c56" providerId="ADAL" clId="{2D4A597C-E1BB-4683-9B76-92B22F6EDF8A}" dt="2021-06-01T13:58:16.832" v="8561" actId="1592"/>
        <pc:sldMkLst>
          <pc:docMk/>
          <pc:sldMk cId="3186503409" sldId="4181"/>
        </pc:sldMkLst>
        <pc:spChg chg="mod">
          <ac:chgData name="Rachel Isaacson" userId="eb36bbd2-09ed-43a6-bb04-b0cadb884c56" providerId="ADAL" clId="{2D4A597C-E1BB-4683-9B76-92B22F6EDF8A}" dt="2021-05-26T19:01:38.842" v="5258"/>
          <ac:spMkLst>
            <pc:docMk/>
            <pc:sldMk cId="3186503409" sldId="4181"/>
            <ac:spMk id="2" creationId="{CE520C66-4A72-4D9F-8CA2-37792391F489}"/>
          </ac:spMkLst>
        </pc:spChg>
        <pc:spChg chg="mod">
          <ac:chgData name="Rachel Isaacson" userId="eb36bbd2-09ed-43a6-bb04-b0cadb884c56" providerId="ADAL" clId="{2D4A597C-E1BB-4683-9B76-92B22F6EDF8A}" dt="2021-05-26T19:04:28.388" v="5727" actId="20577"/>
          <ac:spMkLst>
            <pc:docMk/>
            <pc:sldMk cId="3186503409" sldId="4181"/>
            <ac:spMk id="3" creationId="{789EBB61-BF5A-4C35-881F-E12FEF30E1AF}"/>
          </ac:spMkLst>
        </pc:spChg>
        <pc:picChg chg="del">
          <ac:chgData name="Rachel Isaacson" userId="eb36bbd2-09ed-43a6-bb04-b0cadb884c56" providerId="ADAL" clId="{2D4A597C-E1BB-4683-9B76-92B22F6EDF8A}" dt="2021-05-26T19:00:54.733" v="5245" actId="478"/>
          <ac:picMkLst>
            <pc:docMk/>
            <pc:sldMk cId="3186503409" sldId="4181"/>
            <ac:picMk id="5" creationId="{1E0B0755-5B4C-4DF6-9CD0-741D67DFBA20}"/>
          </ac:picMkLst>
        </pc:picChg>
      </pc:sldChg>
      <pc:sldChg chg="delSp modSp add mod">
        <pc:chgData name="Rachel Isaacson" userId="eb36bbd2-09ed-43a6-bb04-b0cadb884c56" providerId="ADAL" clId="{2D4A597C-E1BB-4683-9B76-92B22F6EDF8A}" dt="2021-05-26T19:17:57.542" v="6075" actId="255"/>
        <pc:sldMkLst>
          <pc:docMk/>
          <pc:sldMk cId="3420785224" sldId="4182"/>
        </pc:sldMkLst>
        <pc:spChg chg="mod">
          <ac:chgData name="Rachel Isaacson" userId="eb36bbd2-09ed-43a6-bb04-b0cadb884c56" providerId="ADAL" clId="{2D4A597C-E1BB-4683-9B76-92B22F6EDF8A}" dt="2021-05-26T19:04:52.306" v="5735"/>
          <ac:spMkLst>
            <pc:docMk/>
            <pc:sldMk cId="3420785224" sldId="4182"/>
            <ac:spMk id="2" creationId="{CE520C66-4A72-4D9F-8CA2-37792391F489}"/>
          </ac:spMkLst>
        </pc:spChg>
        <pc:spChg chg="mod">
          <ac:chgData name="Rachel Isaacson" userId="eb36bbd2-09ed-43a6-bb04-b0cadb884c56" providerId="ADAL" clId="{2D4A597C-E1BB-4683-9B76-92B22F6EDF8A}" dt="2021-05-26T19:17:57.542" v="6075" actId="255"/>
          <ac:spMkLst>
            <pc:docMk/>
            <pc:sldMk cId="3420785224" sldId="4182"/>
            <ac:spMk id="3" creationId="{789EBB61-BF5A-4C35-881F-E12FEF30E1AF}"/>
          </ac:spMkLst>
        </pc:spChg>
        <pc:spChg chg="del">
          <ac:chgData name="Rachel Isaacson" userId="eb36bbd2-09ed-43a6-bb04-b0cadb884c56" providerId="ADAL" clId="{2D4A597C-E1BB-4683-9B76-92B22F6EDF8A}" dt="2021-05-26T19:11:09.322" v="5858" actId="478"/>
          <ac:spMkLst>
            <pc:docMk/>
            <pc:sldMk cId="3420785224" sldId="4182"/>
            <ac:spMk id="4" creationId="{C28E06FC-6CFE-4F80-9783-644BD1C54E34}"/>
          </ac:spMkLst>
        </pc:spChg>
      </pc:sldChg>
      <pc:sldChg chg="new del">
        <pc:chgData name="Rachel Isaacson" userId="eb36bbd2-09ed-43a6-bb04-b0cadb884c56" providerId="ADAL" clId="{2D4A597C-E1BB-4683-9B76-92B22F6EDF8A}" dt="2021-05-26T19:10:58.844" v="5855" actId="2696"/>
        <pc:sldMkLst>
          <pc:docMk/>
          <pc:sldMk cId="353917956" sldId="4183"/>
        </pc:sldMkLst>
      </pc:sldChg>
      <pc:sldChg chg="delSp modSp add mod">
        <pc:chgData name="Rachel Isaacson" userId="eb36bbd2-09ed-43a6-bb04-b0cadb884c56" providerId="ADAL" clId="{2D4A597C-E1BB-4683-9B76-92B22F6EDF8A}" dt="2021-05-26T19:18:11.160" v="6077" actId="20577"/>
        <pc:sldMkLst>
          <pc:docMk/>
          <pc:sldMk cId="1709521733" sldId="4183"/>
        </pc:sldMkLst>
        <pc:spChg chg="mod">
          <ac:chgData name="Rachel Isaacson" userId="eb36bbd2-09ed-43a6-bb04-b0cadb884c56" providerId="ADAL" clId="{2D4A597C-E1BB-4683-9B76-92B22F6EDF8A}" dt="2021-05-26T19:18:11.160" v="6077" actId="20577"/>
          <ac:spMkLst>
            <pc:docMk/>
            <pc:sldMk cId="1709521733" sldId="4183"/>
            <ac:spMk id="3" creationId="{789EBB61-BF5A-4C35-881F-E12FEF30E1AF}"/>
          </ac:spMkLst>
        </pc:spChg>
        <pc:spChg chg="del">
          <ac:chgData name="Rachel Isaacson" userId="eb36bbd2-09ed-43a6-bb04-b0cadb884c56" providerId="ADAL" clId="{2D4A597C-E1BB-4683-9B76-92B22F6EDF8A}" dt="2021-05-26T19:11:06.666" v="5857" actId="478"/>
          <ac:spMkLst>
            <pc:docMk/>
            <pc:sldMk cId="1709521733" sldId="4183"/>
            <ac:spMk id="4" creationId="{C28E06FC-6CFE-4F80-9783-644BD1C54E34}"/>
          </ac:spMkLst>
        </pc:spChg>
      </pc:sldChg>
      <pc:sldChg chg="modSp add del mod">
        <pc:chgData name="Rachel Isaacson" userId="eb36bbd2-09ed-43a6-bb04-b0cadb884c56" providerId="ADAL" clId="{2D4A597C-E1BB-4683-9B76-92B22F6EDF8A}" dt="2021-05-27T14:37:14.608" v="6260" actId="2696"/>
        <pc:sldMkLst>
          <pc:docMk/>
          <pc:sldMk cId="565603023" sldId="4184"/>
        </pc:sldMkLst>
        <pc:spChg chg="mod">
          <ac:chgData name="Rachel Isaacson" userId="eb36bbd2-09ed-43a6-bb04-b0cadb884c56" providerId="ADAL" clId="{2D4A597C-E1BB-4683-9B76-92B22F6EDF8A}" dt="2021-05-27T14:36:49.693" v="6258" actId="20577"/>
          <ac:spMkLst>
            <pc:docMk/>
            <pc:sldMk cId="565603023" sldId="4184"/>
            <ac:spMk id="3" creationId="{789EBB61-BF5A-4C35-881F-E12FEF30E1AF}"/>
          </ac:spMkLst>
        </pc:spChg>
      </pc:sldChg>
      <pc:sldChg chg="modSp add del mod">
        <pc:chgData name="Rachel Isaacson" userId="eb36bbd2-09ed-43a6-bb04-b0cadb884c56" providerId="ADAL" clId="{2D4A597C-E1BB-4683-9B76-92B22F6EDF8A}" dt="2021-06-01T13:55:58.409" v="8534" actId="2696"/>
        <pc:sldMkLst>
          <pc:docMk/>
          <pc:sldMk cId="1038601165" sldId="4184"/>
        </pc:sldMkLst>
        <pc:spChg chg="mod">
          <ac:chgData name="Rachel Isaacson" userId="eb36bbd2-09ed-43a6-bb04-b0cadb884c56" providerId="ADAL" clId="{2D4A597C-E1BB-4683-9B76-92B22F6EDF8A}" dt="2021-05-28T16:46:18.946" v="6623" actId="20577"/>
          <ac:spMkLst>
            <pc:docMk/>
            <pc:sldMk cId="1038601165" sldId="4184"/>
            <ac:spMk id="3" creationId="{789EBB61-BF5A-4C35-881F-E12FEF30E1AF}"/>
          </ac:spMkLst>
        </pc:spChg>
      </pc:sldChg>
      <pc:sldChg chg="modSp add mod">
        <pc:chgData name="Rachel Isaacson" userId="eb36bbd2-09ed-43a6-bb04-b0cadb884c56" providerId="ADAL" clId="{2D4A597C-E1BB-4683-9B76-92B22F6EDF8A}" dt="2021-06-01T14:14:27.566" v="9041" actId="6549"/>
        <pc:sldMkLst>
          <pc:docMk/>
          <pc:sldMk cId="3611978899" sldId="4185"/>
        </pc:sldMkLst>
        <pc:spChg chg="mod">
          <ac:chgData name="Rachel Isaacson" userId="eb36bbd2-09ed-43a6-bb04-b0cadb884c56" providerId="ADAL" clId="{2D4A597C-E1BB-4683-9B76-92B22F6EDF8A}" dt="2021-06-01T14:14:27.566" v="9041" actId="6549"/>
          <ac:spMkLst>
            <pc:docMk/>
            <pc:sldMk cId="3611978899" sldId="4185"/>
            <ac:spMk id="3" creationId="{789EBB61-BF5A-4C35-881F-E12FEF30E1AF}"/>
          </ac:spMkLst>
        </pc:spChg>
      </pc:sldChg>
      <pc:sldChg chg="modSp add del mod">
        <pc:chgData name="Rachel Isaacson" userId="eb36bbd2-09ed-43a6-bb04-b0cadb884c56" providerId="ADAL" clId="{2D4A597C-E1BB-4683-9B76-92B22F6EDF8A}" dt="2021-06-01T14:08:36.992" v="8624" actId="2696"/>
        <pc:sldMkLst>
          <pc:docMk/>
          <pc:sldMk cId="1788358407" sldId="4186"/>
        </pc:sldMkLst>
        <pc:spChg chg="mod">
          <ac:chgData name="Rachel Isaacson" userId="eb36bbd2-09ed-43a6-bb04-b0cadb884c56" providerId="ADAL" clId="{2D4A597C-E1BB-4683-9B76-92B22F6EDF8A}" dt="2021-06-01T13:14:00.204" v="7348" actId="1076"/>
          <ac:spMkLst>
            <pc:docMk/>
            <pc:sldMk cId="1788358407" sldId="4186"/>
            <ac:spMk id="5" creationId="{D3915D3D-656E-48AA-8D63-358A7E5AA453}"/>
          </ac:spMkLst>
        </pc:spChg>
      </pc:sldChg>
      <pc:sldChg chg="modSp add del mod ord">
        <pc:chgData name="Rachel Isaacson" userId="eb36bbd2-09ed-43a6-bb04-b0cadb884c56" providerId="ADAL" clId="{2D4A597C-E1BB-4683-9B76-92B22F6EDF8A}" dt="2021-06-01T14:08:57.418" v="8629" actId="2696"/>
        <pc:sldMkLst>
          <pc:docMk/>
          <pc:sldMk cId="1230247414" sldId="4187"/>
        </pc:sldMkLst>
        <pc:spChg chg="mod">
          <ac:chgData name="Rachel Isaacson" userId="eb36bbd2-09ed-43a6-bb04-b0cadb884c56" providerId="ADAL" clId="{2D4A597C-E1BB-4683-9B76-92B22F6EDF8A}" dt="2021-06-01T13:14:16.494" v="7353" actId="1076"/>
          <ac:spMkLst>
            <pc:docMk/>
            <pc:sldMk cId="1230247414" sldId="4187"/>
            <ac:spMk id="5" creationId="{D3915D3D-656E-48AA-8D63-358A7E5AA453}"/>
          </ac:spMkLst>
        </pc:spChg>
      </pc:sldChg>
      <pc:sldChg chg="modSp add del mod">
        <pc:chgData name="Rachel Isaacson" userId="eb36bbd2-09ed-43a6-bb04-b0cadb884c56" providerId="ADAL" clId="{2D4A597C-E1BB-4683-9B76-92B22F6EDF8A}" dt="2021-06-02T16:33:06.300" v="9234" actId="2696"/>
        <pc:sldMkLst>
          <pc:docMk/>
          <pc:sldMk cId="4254166088" sldId="4188"/>
        </pc:sldMkLst>
        <pc:spChg chg="mod">
          <ac:chgData name="Rachel Isaacson" userId="eb36bbd2-09ed-43a6-bb04-b0cadb884c56" providerId="ADAL" clId="{2D4A597C-E1BB-4683-9B76-92B22F6EDF8A}" dt="2021-06-01T14:24:29.013" v="9170" actId="6549"/>
          <ac:spMkLst>
            <pc:docMk/>
            <pc:sldMk cId="4254166088" sldId="4188"/>
            <ac:spMk id="3" creationId="{8E396B14-F9D7-4ACC-AED3-6E88E76396F5}"/>
          </ac:spMkLst>
        </pc:spChg>
        <pc:spChg chg="mod">
          <ac:chgData name="Rachel Isaacson" userId="eb36bbd2-09ed-43a6-bb04-b0cadb884c56" providerId="ADAL" clId="{2D4A597C-E1BB-4683-9B76-92B22F6EDF8A}" dt="2021-06-01T14:08:40.541" v="8625" actId="1076"/>
          <ac:spMkLst>
            <pc:docMk/>
            <pc:sldMk cId="4254166088" sldId="4188"/>
            <ac:spMk id="5" creationId="{D3915D3D-656E-48AA-8D63-358A7E5AA453}"/>
          </ac:spMkLst>
        </pc:spChg>
      </pc:sldChg>
      <pc:sldChg chg="modSp add del mod ord">
        <pc:chgData name="Rachel Isaacson" userId="eb36bbd2-09ed-43a6-bb04-b0cadb884c56" providerId="ADAL" clId="{2D4A597C-E1BB-4683-9B76-92B22F6EDF8A}" dt="2021-06-02T16:34:45.371" v="9276" actId="2696"/>
        <pc:sldMkLst>
          <pc:docMk/>
          <pc:sldMk cId="171208125" sldId="4189"/>
        </pc:sldMkLst>
        <pc:spChg chg="mod">
          <ac:chgData name="Rachel Isaacson" userId="eb36bbd2-09ed-43a6-bb04-b0cadb884c56" providerId="ADAL" clId="{2D4A597C-E1BB-4683-9B76-92B22F6EDF8A}" dt="2021-06-01T14:24:20.649" v="9162" actId="6549"/>
          <ac:spMkLst>
            <pc:docMk/>
            <pc:sldMk cId="171208125" sldId="4189"/>
            <ac:spMk id="3" creationId="{8E396B14-F9D7-4ACC-AED3-6E88E76396F5}"/>
          </ac:spMkLst>
        </pc:spChg>
        <pc:spChg chg="mod">
          <ac:chgData name="Rachel Isaacson" userId="eb36bbd2-09ed-43a6-bb04-b0cadb884c56" providerId="ADAL" clId="{2D4A597C-E1BB-4683-9B76-92B22F6EDF8A}" dt="2021-06-01T14:09:06.260" v="8630" actId="1076"/>
          <ac:spMkLst>
            <pc:docMk/>
            <pc:sldMk cId="171208125" sldId="4189"/>
            <ac:spMk id="5" creationId="{D3915D3D-656E-48AA-8D63-358A7E5AA453}"/>
          </ac:spMkLst>
        </pc:spChg>
      </pc:sldChg>
      <pc:sldChg chg="modSp add del mod ord">
        <pc:chgData name="Rachel Isaacson" userId="eb36bbd2-09ed-43a6-bb04-b0cadb884c56" providerId="ADAL" clId="{2D4A597C-E1BB-4683-9B76-92B22F6EDF8A}" dt="2021-06-02T16:34:57.990" v="9281" actId="2696"/>
        <pc:sldMkLst>
          <pc:docMk/>
          <pc:sldMk cId="3242019767" sldId="4190"/>
        </pc:sldMkLst>
        <pc:spChg chg="mod">
          <ac:chgData name="Rachel Isaacson" userId="eb36bbd2-09ed-43a6-bb04-b0cadb884c56" providerId="ADAL" clId="{2D4A597C-E1BB-4683-9B76-92B22F6EDF8A}" dt="2021-06-01T14:24:15.748" v="9158" actId="6549"/>
          <ac:spMkLst>
            <pc:docMk/>
            <pc:sldMk cId="3242019767" sldId="4190"/>
            <ac:spMk id="3" creationId="{8E396B14-F9D7-4ACC-AED3-6E88E76396F5}"/>
          </ac:spMkLst>
        </pc:spChg>
        <pc:spChg chg="mod">
          <ac:chgData name="Rachel Isaacson" userId="eb36bbd2-09ed-43a6-bb04-b0cadb884c56" providerId="ADAL" clId="{2D4A597C-E1BB-4683-9B76-92B22F6EDF8A}" dt="2021-06-01T14:09:31.760" v="8635" actId="1076"/>
          <ac:spMkLst>
            <pc:docMk/>
            <pc:sldMk cId="3242019767" sldId="4190"/>
            <ac:spMk id="5" creationId="{D3915D3D-656E-48AA-8D63-358A7E5AA453}"/>
          </ac:spMkLst>
        </pc:spChg>
      </pc:sldChg>
      <pc:sldChg chg="modSp add del mod ord">
        <pc:chgData name="Rachel Isaacson" userId="eb36bbd2-09ed-43a6-bb04-b0cadb884c56" providerId="ADAL" clId="{2D4A597C-E1BB-4683-9B76-92B22F6EDF8A}" dt="2021-06-02T16:35:07.185" v="9286" actId="2696"/>
        <pc:sldMkLst>
          <pc:docMk/>
          <pc:sldMk cId="1778617126" sldId="4191"/>
        </pc:sldMkLst>
        <pc:spChg chg="mod">
          <ac:chgData name="Rachel Isaacson" userId="eb36bbd2-09ed-43a6-bb04-b0cadb884c56" providerId="ADAL" clId="{2D4A597C-E1BB-4683-9B76-92B22F6EDF8A}" dt="2021-06-01T14:24:12.258" v="9154" actId="20577"/>
          <ac:spMkLst>
            <pc:docMk/>
            <pc:sldMk cId="1778617126" sldId="4191"/>
            <ac:spMk id="3" creationId="{8E396B14-F9D7-4ACC-AED3-6E88E76396F5}"/>
          </ac:spMkLst>
        </pc:spChg>
        <pc:spChg chg="mod">
          <ac:chgData name="Rachel Isaacson" userId="eb36bbd2-09ed-43a6-bb04-b0cadb884c56" providerId="ADAL" clId="{2D4A597C-E1BB-4683-9B76-92B22F6EDF8A}" dt="2021-06-01T14:09:39.990" v="8640" actId="1076"/>
          <ac:spMkLst>
            <pc:docMk/>
            <pc:sldMk cId="1778617126" sldId="4191"/>
            <ac:spMk id="5" creationId="{D3915D3D-656E-48AA-8D63-358A7E5AA453}"/>
          </ac:spMkLst>
        </pc:spChg>
      </pc:sldChg>
      <pc:sldChg chg="new del">
        <pc:chgData name="Rachel Isaacson" userId="eb36bbd2-09ed-43a6-bb04-b0cadb884c56" providerId="ADAL" clId="{2D4A597C-E1BB-4683-9B76-92B22F6EDF8A}" dt="2021-06-01T14:10:45.832" v="8642" actId="2696"/>
        <pc:sldMkLst>
          <pc:docMk/>
          <pc:sldMk cId="201269281" sldId="4192"/>
        </pc:sldMkLst>
      </pc:sldChg>
      <pc:sldChg chg="modSp add mod">
        <pc:chgData name="Rachel Isaacson" userId="eb36bbd2-09ed-43a6-bb04-b0cadb884c56" providerId="ADAL" clId="{2D4A597C-E1BB-4683-9B76-92B22F6EDF8A}" dt="2021-06-01T14:12:02.009" v="8930" actId="6549"/>
        <pc:sldMkLst>
          <pc:docMk/>
          <pc:sldMk cId="1752669064" sldId="4192"/>
        </pc:sldMkLst>
        <pc:spChg chg="mod">
          <ac:chgData name="Rachel Isaacson" userId="eb36bbd2-09ed-43a6-bb04-b0cadb884c56" providerId="ADAL" clId="{2D4A597C-E1BB-4683-9B76-92B22F6EDF8A}" dt="2021-06-01T14:10:58.429" v="8658" actId="20577"/>
          <ac:spMkLst>
            <pc:docMk/>
            <pc:sldMk cId="1752669064" sldId="4192"/>
            <ac:spMk id="2" creationId="{CE520C66-4A72-4D9F-8CA2-37792391F489}"/>
          </ac:spMkLst>
        </pc:spChg>
        <pc:spChg chg="mod">
          <ac:chgData name="Rachel Isaacson" userId="eb36bbd2-09ed-43a6-bb04-b0cadb884c56" providerId="ADAL" clId="{2D4A597C-E1BB-4683-9B76-92B22F6EDF8A}" dt="2021-06-01T14:12:02.009" v="8930" actId="6549"/>
          <ac:spMkLst>
            <pc:docMk/>
            <pc:sldMk cId="1752669064" sldId="4192"/>
            <ac:spMk id="3" creationId="{789EBB61-BF5A-4C35-881F-E12FEF30E1AF}"/>
          </ac:spMkLst>
        </pc:spChg>
      </pc:sldChg>
      <pc:sldChg chg="modSp add mod">
        <pc:chgData name="Rachel Isaacson" userId="eb36bbd2-09ed-43a6-bb04-b0cadb884c56" providerId="ADAL" clId="{2D4A597C-E1BB-4683-9B76-92B22F6EDF8A}" dt="2021-06-02T16:33:08.864" v="9235" actId="1076"/>
        <pc:sldMkLst>
          <pc:docMk/>
          <pc:sldMk cId="3484630558" sldId="4193"/>
        </pc:sldMkLst>
        <pc:spChg chg="mod">
          <ac:chgData name="Rachel Isaacson" userId="eb36bbd2-09ed-43a6-bb04-b0cadb884c56" providerId="ADAL" clId="{2D4A597C-E1BB-4683-9B76-92B22F6EDF8A}" dt="2021-06-02T16:33:08.864" v="9235" actId="1076"/>
          <ac:spMkLst>
            <pc:docMk/>
            <pc:sldMk cId="3484630558" sldId="4193"/>
            <ac:spMk id="5" creationId="{D3915D3D-656E-48AA-8D63-358A7E5AA453}"/>
          </ac:spMkLst>
        </pc:spChg>
      </pc:sldChg>
      <pc:sldChg chg="modSp add mod ord">
        <pc:chgData name="Rachel Isaacson" userId="eb36bbd2-09ed-43a6-bb04-b0cadb884c56" providerId="ADAL" clId="{2D4A597C-E1BB-4683-9B76-92B22F6EDF8A}" dt="2021-06-02T16:33:39.634" v="9239" actId="1076"/>
        <pc:sldMkLst>
          <pc:docMk/>
          <pc:sldMk cId="2298007596" sldId="4194"/>
        </pc:sldMkLst>
        <pc:spChg chg="mod">
          <ac:chgData name="Rachel Isaacson" userId="eb36bbd2-09ed-43a6-bb04-b0cadb884c56" providerId="ADAL" clId="{2D4A597C-E1BB-4683-9B76-92B22F6EDF8A}" dt="2021-06-02T16:33:39.634" v="9239" actId="1076"/>
          <ac:spMkLst>
            <pc:docMk/>
            <pc:sldMk cId="2298007596" sldId="4194"/>
            <ac:spMk id="5" creationId="{D3915D3D-656E-48AA-8D63-358A7E5AA453}"/>
          </ac:spMkLst>
        </pc:spChg>
      </pc:sldChg>
      <pc:sldChg chg="modSp add del mod ord">
        <pc:chgData name="Rachel Isaacson" userId="eb36bbd2-09ed-43a6-bb04-b0cadb884c56" providerId="ADAL" clId="{2D4A597C-E1BB-4683-9B76-92B22F6EDF8A}" dt="2021-06-02T16:34:32.104" v="9271" actId="2696"/>
        <pc:sldMkLst>
          <pc:docMk/>
          <pc:sldMk cId="501368497" sldId="4195"/>
        </pc:sldMkLst>
        <pc:spChg chg="mod">
          <ac:chgData name="Rachel Isaacson" userId="eb36bbd2-09ed-43a6-bb04-b0cadb884c56" providerId="ADAL" clId="{2D4A597C-E1BB-4683-9B76-92B22F6EDF8A}" dt="2021-06-02T16:33:52.410" v="9243" actId="1076"/>
          <ac:spMkLst>
            <pc:docMk/>
            <pc:sldMk cId="501368497" sldId="4195"/>
            <ac:spMk id="5" creationId="{D3915D3D-656E-48AA-8D63-358A7E5AA453}"/>
          </ac:spMkLst>
        </pc:spChg>
      </pc:sldChg>
      <pc:sldChg chg="modSp add mod ord">
        <pc:chgData name="Rachel Isaacson" userId="eb36bbd2-09ed-43a6-bb04-b0cadb884c56" providerId="ADAL" clId="{2D4A597C-E1BB-4683-9B76-92B22F6EDF8A}" dt="2021-06-02T16:34:39.866" v="9272" actId="1076"/>
        <pc:sldMkLst>
          <pc:docMk/>
          <pc:sldMk cId="4135027321" sldId="4196"/>
        </pc:sldMkLst>
        <pc:spChg chg="mod">
          <ac:chgData name="Rachel Isaacson" userId="eb36bbd2-09ed-43a6-bb04-b0cadb884c56" providerId="ADAL" clId="{2D4A597C-E1BB-4683-9B76-92B22F6EDF8A}" dt="2021-06-02T16:34:39.866" v="9272" actId="1076"/>
          <ac:spMkLst>
            <pc:docMk/>
            <pc:sldMk cId="4135027321" sldId="4196"/>
            <ac:spMk id="5" creationId="{D3915D3D-656E-48AA-8D63-358A7E5AA453}"/>
          </ac:spMkLst>
        </pc:spChg>
      </pc:sldChg>
      <pc:sldChg chg="modSp add mod ord">
        <pc:chgData name="Rachel Isaacson" userId="eb36bbd2-09ed-43a6-bb04-b0cadb884c56" providerId="ADAL" clId="{2D4A597C-E1BB-4683-9B76-92B22F6EDF8A}" dt="2021-06-02T16:34:51.044" v="9277" actId="1076"/>
        <pc:sldMkLst>
          <pc:docMk/>
          <pc:sldMk cId="3544204532" sldId="4197"/>
        </pc:sldMkLst>
        <pc:spChg chg="mod">
          <ac:chgData name="Rachel Isaacson" userId="eb36bbd2-09ed-43a6-bb04-b0cadb884c56" providerId="ADAL" clId="{2D4A597C-E1BB-4683-9B76-92B22F6EDF8A}" dt="2021-06-02T16:34:51.044" v="9277" actId="1076"/>
          <ac:spMkLst>
            <pc:docMk/>
            <pc:sldMk cId="3544204532" sldId="4197"/>
            <ac:spMk id="5" creationId="{D3915D3D-656E-48AA-8D63-358A7E5AA453}"/>
          </ac:spMkLst>
        </pc:spChg>
      </pc:sldChg>
      <pc:sldChg chg="modSp add mod ord">
        <pc:chgData name="Rachel Isaacson" userId="eb36bbd2-09ed-43a6-bb04-b0cadb884c56" providerId="ADAL" clId="{2D4A597C-E1BB-4683-9B76-92B22F6EDF8A}" dt="2021-06-02T16:35:00.778" v="9282" actId="1076"/>
        <pc:sldMkLst>
          <pc:docMk/>
          <pc:sldMk cId="1131315940" sldId="4198"/>
        </pc:sldMkLst>
        <pc:spChg chg="mod">
          <ac:chgData name="Rachel Isaacson" userId="eb36bbd2-09ed-43a6-bb04-b0cadb884c56" providerId="ADAL" clId="{2D4A597C-E1BB-4683-9B76-92B22F6EDF8A}" dt="2021-06-02T16:35:00.778" v="9282" actId="1076"/>
          <ac:spMkLst>
            <pc:docMk/>
            <pc:sldMk cId="1131315940" sldId="4198"/>
            <ac:spMk id="5" creationId="{D3915D3D-656E-48AA-8D63-358A7E5AA453}"/>
          </ac:spMkLst>
        </pc:spChg>
      </pc:sldChg>
      <pc:sldChg chg="modSp add mod ord">
        <pc:chgData name="Rachel Isaacson" userId="eb36bbd2-09ed-43a6-bb04-b0cadb884c56" providerId="ADAL" clId="{2D4A597C-E1BB-4683-9B76-92B22F6EDF8A}" dt="2021-06-02T16:35:10.466" v="9287" actId="1076"/>
        <pc:sldMkLst>
          <pc:docMk/>
          <pc:sldMk cId="1373001920" sldId="4199"/>
        </pc:sldMkLst>
        <pc:spChg chg="mod">
          <ac:chgData name="Rachel Isaacson" userId="eb36bbd2-09ed-43a6-bb04-b0cadb884c56" providerId="ADAL" clId="{2D4A597C-E1BB-4683-9B76-92B22F6EDF8A}" dt="2021-06-02T16:35:10.466" v="9287" actId="1076"/>
          <ac:spMkLst>
            <pc:docMk/>
            <pc:sldMk cId="1373001920" sldId="4199"/>
            <ac:spMk id="5" creationId="{D3915D3D-656E-48AA-8D63-358A7E5AA453}"/>
          </ac:spMkLst>
        </pc:spChg>
      </pc:sldChg>
    </pc:docChg>
  </pc:docChgLst>
  <pc:docChgLst>
    <pc:chgData name="Michael Bailit" userId="6e5c4604-85bf-41ef-8e97-4724b7d56589" providerId="ADAL" clId="{C2F50CC8-BB77-46CD-95FB-EF379AF64C1B}"/>
    <pc:docChg chg="undo custSel modSld">
      <pc:chgData name="Michael Bailit" userId="6e5c4604-85bf-41ef-8e97-4724b7d56589" providerId="ADAL" clId="{C2F50CC8-BB77-46CD-95FB-EF379AF64C1B}" dt="2021-06-03T00:34:58.224" v="1890" actId="1592"/>
      <pc:docMkLst>
        <pc:docMk/>
      </pc:docMkLst>
      <pc:sldChg chg="modSp mod addCm modCm">
        <pc:chgData name="Michael Bailit" userId="6e5c4604-85bf-41ef-8e97-4724b7d56589" providerId="ADAL" clId="{C2F50CC8-BB77-46CD-95FB-EF379AF64C1B}" dt="2021-05-30T16:40:47.794" v="1640"/>
        <pc:sldMkLst>
          <pc:docMk/>
          <pc:sldMk cId="3123438988" sldId="1429"/>
        </pc:sldMkLst>
        <pc:spChg chg="mod">
          <ac:chgData name="Michael Bailit" userId="6e5c4604-85bf-41ef-8e97-4724b7d56589" providerId="ADAL" clId="{C2F50CC8-BB77-46CD-95FB-EF379AF64C1B}" dt="2021-05-30T16:35:25.944" v="1587" actId="14100"/>
          <ac:spMkLst>
            <pc:docMk/>
            <pc:sldMk cId="3123438988" sldId="1429"/>
            <ac:spMk id="3" creationId="{8E396B14-F9D7-4ACC-AED3-6E88E76396F5}"/>
          </ac:spMkLst>
        </pc:spChg>
      </pc:sldChg>
      <pc:sldChg chg="modSp mod addCm">
        <pc:chgData name="Michael Bailit" userId="6e5c4604-85bf-41ef-8e97-4724b7d56589" providerId="ADAL" clId="{C2F50CC8-BB77-46CD-95FB-EF379AF64C1B}" dt="2021-06-03T00:34:39.729" v="1889" actId="948"/>
        <pc:sldMkLst>
          <pc:docMk/>
          <pc:sldMk cId="2987806787" sldId="4054"/>
        </pc:sldMkLst>
        <pc:spChg chg="mod">
          <ac:chgData name="Michael Bailit" userId="6e5c4604-85bf-41ef-8e97-4724b7d56589" providerId="ADAL" clId="{C2F50CC8-BB77-46CD-95FB-EF379AF64C1B}" dt="2021-06-03T00:34:39.729" v="1889" actId="948"/>
          <ac:spMkLst>
            <pc:docMk/>
            <pc:sldMk cId="2987806787" sldId="4054"/>
            <ac:spMk id="3" creationId="{789EBB61-BF5A-4C35-881F-E12FEF30E1AF}"/>
          </ac:spMkLst>
        </pc:spChg>
      </pc:sldChg>
      <pc:sldChg chg="addCm delCm">
        <pc:chgData name="Michael Bailit" userId="6e5c4604-85bf-41ef-8e97-4724b7d56589" providerId="ADAL" clId="{C2F50CC8-BB77-46CD-95FB-EF379AF64C1B}" dt="2021-05-30T15:46:56.725" v="5" actId="1592"/>
        <pc:sldMkLst>
          <pc:docMk/>
          <pc:sldMk cId="2990342435" sldId="4055"/>
        </pc:sldMkLst>
      </pc:sldChg>
      <pc:sldChg chg="modSp mod modAnim addCm delCm modCm">
        <pc:chgData name="Michael Bailit" userId="6e5c4604-85bf-41ef-8e97-4724b7d56589" providerId="ADAL" clId="{C2F50CC8-BB77-46CD-95FB-EF379AF64C1B}" dt="2021-06-03T00:29:39.215" v="1768" actId="114"/>
        <pc:sldMkLst>
          <pc:docMk/>
          <pc:sldMk cId="1582823993" sldId="4162"/>
        </pc:sldMkLst>
        <pc:spChg chg="mod">
          <ac:chgData name="Michael Bailit" userId="6e5c4604-85bf-41ef-8e97-4724b7d56589" providerId="ADAL" clId="{C2F50CC8-BB77-46CD-95FB-EF379AF64C1B}" dt="2021-06-03T00:29:39.215" v="1768" actId="114"/>
          <ac:spMkLst>
            <pc:docMk/>
            <pc:sldMk cId="1582823993" sldId="4162"/>
            <ac:spMk id="3" creationId="{789EBB61-BF5A-4C35-881F-E12FEF30E1AF}"/>
          </ac:spMkLst>
        </pc:spChg>
      </pc:sldChg>
      <pc:sldChg chg="modSp mod addCm modCm">
        <pc:chgData name="Michael Bailit" userId="6e5c4604-85bf-41ef-8e97-4724b7d56589" providerId="ADAL" clId="{C2F50CC8-BB77-46CD-95FB-EF379AF64C1B}" dt="2021-05-30T16:05:28.195" v="419" actId="20577"/>
        <pc:sldMkLst>
          <pc:docMk/>
          <pc:sldMk cId="1438496191" sldId="4163"/>
        </pc:sldMkLst>
        <pc:spChg chg="mod">
          <ac:chgData name="Michael Bailit" userId="6e5c4604-85bf-41ef-8e97-4724b7d56589" providerId="ADAL" clId="{C2F50CC8-BB77-46CD-95FB-EF379AF64C1B}" dt="2021-05-30T16:05:28.195" v="419" actId="20577"/>
          <ac:spMkLst>
            <pc:docMk/>
            <pc:sldMk cId="1438496191" sldId="4163"/>
            <ac:spMk id="2" creationId="{CE520C66-4A72-4D9F-8CA2-37792391F489}"/>
          </ac:spMkLst>
        </pc:spChg>
        <pc:spChg chg="mod">
          <ac:chgData name="Michael Bailit" userId="6e5c4604-85bf-41ef-8e97-4724b7d56589" providerId="ADAL" clId="{C2F50CC8-BB77-46CD-95FB-EF379AF64C1B}" dt="2021-05-30T16:02:57.162" v="391" actId="948"/>
          <ac:spMkLst>
            <pc:docMk/>
            <pc:sldMk cId="1438496191" sldId="4163"/>
            <ac:spMk id="3" creationId="{789EBB61-BF5A-4C35-881F-E12FEF30E1AF}"/>
          </ac:spMkLst>
        </pc:spChg>
      </pc:sldChg>
      <pc:sldChg chg="addSp modSp mod modAnim addCm delCm modCm">
        <pc:chgData name="Michael Bailit" userId="6e5c4604-85bf-41ef-8e97-4724b7d56589" providerId="ADAL" clId="{C2F50CC8-BB77-46CD-95FB-EF379AF64C1B}" dt="2021-06-03T00:33:49.330" v="1880" actId="1076"/>
        <pc:sldMkLst>
          <pc:docMk/>
          <pc:sldMk cId="169575888" sldId="4164"/>
        </pc:sldMkLst>
        <pc:spChg chg="mod">
          <ac:chgData name="Michael Bailit" userId="6e5c4604-85bf-41ef-8e97-4724b7d56589" providerId="ADAL" clId="{C2F50CC8-BB77-46CD-95FB-EF379AF64C1B}" dt="2021-05-30T16:05:32.153" v="420" actId="20577"/>
          <ac:spMkLst>
            <pc:docMk/>
            <pc:sldMk cId="169575888" sldId="4164"/>
            <ac:spMk id="2" creationId="{CE520C66-4A72-4D9F-8CA2-37792391F489}"/>
          </ac:spMkLst>
        </pc:spChg>
        <pc:spChg chg="mod">
          <ac:chgData name="Michael Bailit" userId="6e5c4604-85bf-41ef-8e97-4724b7d56589" providerId="ADAL" clId="{C2F50CC8-BB77-46CD-95FB-EF379AF64C1B}" dt="2021-06-03T00:33:49.330" v="1880" actId="1076"/>
          <ac:spMkLst>
            <pc:docMk/>
            <pc:sldMk cId="169575888" sldId="4164"/>
            <ac:spMk id="3" creationId="{789EBB61-BF5A-4C35-881F-E12FEF30E1AF}"/>
          </ac:spMkLst>
        </pc:spChg>
        <pc:spChg chg="add mod">
          <ac:chgData name="Michael Bailit" userId="6e5c4604-85bf-41ef-8e97-4724b7d56589" providerId="ADAL" clId="{C2F50CC8-BB77-46CD-95FB-EF379AF64C1B}" dt="2021-06-03T00:33:23.975" v="1878" actId="113"/>
          <ac:spMkLst>
            <pc:docMk/>
            <pc:sldMk cId="169575888" sldId="4164"/>
            <ac:spMk id="4" creationId="{A89EDB0C-3D2E-4B22-BE55-A96C9B1B967D}"/>
          </ac:spMkLst>
        </pc:spChg>
      </pc:sldChg>
      <pc:sldChg chg="modSp mod addCm delCm modCm">
        <pc:chgData name="Michael Bailit" userId="6e5c4604-85bf-41ef-8e97-4724b7d56589" providerId="ADAL" clId="{C2F50CC8-BB77-46CD-95FB-EF379AF64C1B}" dt="2021-06-03T00:34:58.224" v="1890" actId="1592"/>
        <pc:sldMkLst>
          <pc:docMk/>
          <pc:sldMk cId="2127285873" sldId="4166"/>
        </pc:sldMkLst>
        <pc:spChg chg="mod">
          <ac:chgData name="Michael Bailit" userId="6e5c4604-85bf-41ef-8e97-4724b7d56589" providerId="ADAL" clId="{C2F50CC8-BB77-46CD-95FB-EF379AF64C1B}" dt="2021-05-30T16:37:02.626" v="1627" actId="20577"/>
          <ac:spMkLst>
            <pc:docMk/>
            <pc:sldMk cId="2127285873" sldId="4166"/>
            <ac:spMk id="2" creationId="{CE520C66-4A72-4D9F-8CA2-37792391F489}"/>
          </ac:spMkLst>
        </pc:spChg>
        <pc:spChg chg="mod">
          <ac:chgData name="Michael Bailit" userId="6e5c4604-85bf-41ef-8e97-4724b7d56589" providerId="ADAL" clId="{C2F50CC8-BB77-46CD-95FB-EF379AF64C1B}" dt="2021-05-30T16:31:57.580" v="1511" actId="948"/>
          <ac:spMkLst>
            <pc:docMk/>
            <pc:sldMk cId="2127285873" sldId="4166"/>
            <ac:spMk id="3" creationId="{789EBB61-BF5A-4C35-881F-E12FEF30E1AF}"/>
          </ac:spMkLst>
        </pc:spChg>
      </pc:sldChg>
      <pc:sldChg chg="modSp">
        <pc:chgData name="Michael Bailit" userId="6e5c4604-85bf-41ef-8e97-4724b7d56589" providerId="ADAL" clId="{C2F50CC8-BB77-46CD-95FB-EF379AF64C1B}" dt="2021-05-30T16:05:44.070" v="424" actId="20577"/>
        <pc:sldMkLst>
          <pc:docMk/>
          <pc:sldMk cId="2516427978" sldId="4167"/>
        </pc:sldMkLst>
        <pc:graphicFrameChg chg="mod">
          <ac:chgData name="Michael Bailit" userId="6e5c4604-85bf-41ef-8e97-4724b7d56589" providerId="ADAL" clId="{C2F50CC8-BB77-46CD-95FB-EF379AF64C1B}" dt="2021-05-30T16:05:44.070" v="424" actId="20577"/>
          <ac:graphicFrameMkLst>
            <pc:docMk/>
            <pc:sldMk cId="2516427978" sldId="4167"/>
            <ac:graphicFrameMk id="8" creationId="{868580F7-E41E-45CA-B582-862D072730B3}"/>
          </ac:graphicFrameMkLst>
        </pc:graphicFrameChg>
      </pc:sldChg>
      <pc:sldChg chg="modSp mod addCm modCm">
        <pc:chgData name="Michael Bailit" userId="6e5c4604-85bf-41ef-8e97-4724b7d56589" providerId="ADAL" clId="{C2F50CC8-BB77-46CD-95FB-EF379AF64C1B}" dt="2021-05-30T16:35:33.754" v="1590" actId="20577"/>
        <pc:sldMkLst>
          <pc:docMk/>
          <pc:sldMk cId="3374410590" sldId="4173"/>
        </pc:sldMkLst>
        <pc:spChg chg="mod">
          <ac:chgData name="Michael Bailit" userId="6e5c4604-85bf-41ef-8e97-4724b7d56589" providerId="ADAL" clId="{C2F50CC8-BB77-46CD-95FB-EF379AF64C1B}" dt="2021-05-30T16:35:33.754" v="1590" actId="20577"/>
          <ac:spMkLst>
            <pc:docMk/>
            <pc:sldMk cId="3374410590" sldId="4173"/>
            <ac:spMk id="3" creationId="{8E396B14-F9D7-4ACC-AED3-6E88E76396F5}"/>
          </ac:spMkLst>
        </pc:spChg>
      </pc:sldChg>
      <pc:sldChg chg="modSp mod">
        <pc:chgData name="Michael Bailit" userId="6e5c4604-85bf-41ef-8e97-4724b7d56589" providerId="ADAL" clId="{C2F50CC8-BB77-46CD-95FB-EF379AF64C1B}" dt="2021-05-30T16:36:05.580" v="1597" actId="14100"/>
        <pc:sldMkLst>
          <pc:docMk/>
          <pc:sldMk cId="2260052772" sldId="4174"/>
        </pc:sldMkLst>
        <pc:spChg chg="mod">
          <ac:chgData name="Michael Bailit" userId="6e5c4604-85bf-41ef-8e97-4724b7d56589" providerId="ADAL" clId="{C2F50CC8-BB77-46CD-95FB-EF379AF64C1B}" dt="2021-05-30T16:36:05.580" v="1597" actId="14100"/>
          <ac:spMkLst>
            <pc:docMk/>
            <pc:sldMk cId="2260052772" sldId="4174"/>
            <ac:spMk id="3" creationId="{8E396B14-F9D7-4ACC-AED3-6E88E76396F5}"/>
          </ac:spMkLst>
        </pc:spChg>
        <pc:spChg chg="mod">
          <ac:chgData name="Michael Bailit" userId="6e5c4604-85bf-41ef-8e97-4724b7d56589" providerId="ADAL" clId="{C2F50CC8-BB77-46CD-95FB-EF379AF64C1B}" dt="2021-05-30T16:28:22.626" v="1428" actId="1076"/>
          <ac:spMkLst>
            <pc:docMk/>
            <pc:sldMk cId="2260052772" sldId="4174"/>
            <ac:spMk id="5" creationId="{D3915D3D-656E-48AA-8D63-358A7E5AA453}"/>
          </ac:spMkLst>
        </pc:spChg>
      </pc:sldChg>
      <pc:sldChg chg="modSp mod">
        <pc:chgData name="Michael Bailit" userId="6e5c4604-85bf-41ef-8e97-4724b7d56589" providerId="ADAL" clId="{C2F50CC8-BB77-46CD-95FB-EF379AF64C1B}" dt="2021-05-30T16:44:55.049" v="1753" actId="1076"/>
        <pc:sldMkLst>
          <pc:docMk/>
          <pc:sldMk cId="607978333" sldId="4176"/>
        </pc:sldMkLst>
        <pc:spChg chg="mod">
          <ac:chgData name="Michael Bailit" userId="6e5c4604-85bf-41ef-8e97-4724b7d56589" providerId="ADAL" clId="{C2F50CC8-BB77-46CD-95FB-EF379AF64C1B}" dt="2021-05-30T16:36:37.695" v="1606" actId="14100"/>
          <ac:spMkLst>
            <pc:docMk/>
            <pc:sldMk cId="607978333" sldId="4176"/>
            <ac:spMk id="3" creationId="{8E396B14-F9D7-4ACC-AED3-6E88E76396F5}"/>
          </ac:spMkLst>
        </pc:spChg>
        <pc:spChg chg="mod">
          <ac:chgData name="Michael Bailit" userId="6e5c4604-85bf-41ef-8e97-4724b7d56589" providerId="ADAL" clId="{C2F50CC8-BB77-46CD-95FB-EF379AF64C1B}" dt="2021-05-30T16:44:55.049" v="1753" actId="1076"/>
          <ac:spMkLst>
            <pc:docMk/>
            <pc:sldMk cId="607978333" sldId="4176"/>
            <ac:spMk id="5" creationId="{D3915D3D-656E-48AA-8D63-358A7E5AA453}"/>
          </ac:spMkLst>
        </pc:spChg>
      </pc:sldChg>
      <pc:sldChg chg="modSp mod">
        <pc:chgData name="Michael Bailit" userId="6e5c4604-85bf-41ef-8e97-4724b7d56589" providerId="ADAL" clId="{C2F50CC8-BB77-46CD-95FB-EF379AF64C1B}" dt="2021-05-30T16:38:56.085" v="1638" actId="14100"/>
        <pc:sldMkLst>
          <pc:docMk/>
          <pc:sldMk cId="1749676024" sldId="4177"/>
        </pc:sldMkLst>
        <pc:spChg chg="mod">
          <ac:chgData name="Michael Bailit" userId="6e5c4604-85bf-41ef-8e97-4724b7d56589" providerId="ADAL" clId="{C2F50CC8-BB77-46CD-95FB-EF379AF64C1B}" dt="2021-05-30T16:38:56.085" v="1638" actId="14100"/>
          <ac:spMkLst>
            <pc:docMk/>
            <pc:sldMk cId="1749676024" sldId="4177"/>
            <ac:spMk id="3" creationId="{8E396B14-F9D7-4ACC-AED3-6E88E76396F5}"/>
          </ac:spMkLst>
        </pc:spChg>
        <pc:spChg chg="mod">
          <ac:chgData name="Michael Bailit" userId="6e5c4604-85bf-41ef-8e97-4724b7d56589" providerId="ADAL" clId="{C2F50CC8-BB77-46CD-95FB-EF379AF64C1B}" dt="2021-05-30T16:38:49.921" v="1636" actId="1076"/>
          <ac:spMkLst>
            <pc:docMk/>
            <pc:sldMk cId="1749676024" sldId="4177"/>
            <ac:spMk id="5" creationId="{D3915D3D-656E-48AA-8D63-358A7E5AA453}"/>
          </ac:spMkLst>
        </pc:spChg>
      </pc:sldChg>
      <pc:sldChg chg="modSp mod addCm">
        <pc:chgData name="Michael Bailit" userId="6e5c4604-85bf-41ef-8e97-4724b7d56589" providerId="ADAL" clId="{C2F50CC8-BB77-46CD-95FB-EF379AF64C1B}" dt="2021-05-30T16:42:03.353" v="1641" actId="1589"/>
        <pc:sldMkLst>
          <pc:docMk/>
          <pc:sldMk cId="2558297312" sldId="4179"/>
        </pc:sldMkLst>
        <pc:spChg chg="mod">
          <ac:chgData name="Michael Bailit" userId="6e5c4604-85bf-41ef-8e97-4724b7d56589" providerId="ADAL" clId="{C2F50CC8-BB77-46CD-95FB-EF379AF64C1B}" dt="2021-05-30T16:29:00.470" v="1453" actId="20577"/>
          <ac:spMkLst>
            <pc:docMk/>
            <pc:sldMk cId="2558297312" sldId="4179"/>
            <ac:spMk id="2" creationId="{CE520C66-4A72-4D9F-8CA2-37792391F489}"/>
          </ac:spMkLst>
        </pc:spChg>
        <pc:spChg chg="mod">
          <ac:chgData name="Michael Bailit" userId="6e5c4604-85bf-41ef-8e97-4724b7d56589" providerId="ADAL" clId="{C2F50CC8-BB77-46CD-95FB-EF379AF64C1B}" dt="2021-05-30T16:30:17.084" v="1470" actId="20577"/>
          <ac:spMkLst>
            <pc:docMk/>
            <pc:sldMk cId="2558297312" sldId="4179"/>
            <ac:spMk id="4" creationId="{C28E06FC-6CFE-4F80-9783-644BD1C54E34}"/>
          </ac:spMkLst>
        </pc:spChg>
      </pc:sldChg>
      <pc:sldChg chg="modSp mod addCm modCm">
        <pc:chgData name="Michael Bailit" userId="6e5c4604-85bf-41ef-8e97-4724b7d56589" providerId="ADAL" clId="{C2F50CC8-BB77-46CD-95FB-EF379AF64C1B}" dt="2021-05-30T16:29:10.008" v="1454"/>
        <pc:sldMkLst>
          <pc:docMk/>
          <pc:sldMk cId="740120548" sldId="4180"/>
        </pc:sldMkLst>
        <pc:spChg chg="mod">
          <ac:chgData name="Michael Bailit" userId="6e5c4604-85bf-41ef-8e97-4724b7d56589" providerId="ADAL" clId="{C2F50CC8-BB77-46CD-95FB-EF379AF64C1B}" dt="2021-05-30T16:29:10.008" v="1454"/>
          <ac:spMkLst>
            <pc:docMk/>
            <pc:sldMk cId="740120548" sldId="4180"/>
            <ac:spMk id="2" creationId="{CE520C66-4A72-4D9F-8CA2-37792391F489}"/>
          </ac:spMkLst>
        </pc:spChg>
      </pc:sldChg>
      <pc:sldChg chg="delSp modSp mod modAnim addCm modCm">
        <pc:chgData name="Michael Bailit" userId="6e5c4604-85bf-41ef-8e97-4724b7d56589" providerId="ADAL" clId="{C2F50CC8-BB77-46CD-95FB-EF379AF64C1B}" dt="2021-05-30T16:43:49.219" v="1723" actId="20577"/>
        <pc:sldMkLst>
          <pc:docMk/>
          <pc:sldMk cId="3186503409" sldId="4181"/>
        </pc:sldMkLst>
        <pc:spChg chg="mod">
          <ac:chgData name="Michael Bailit" userId="6e5c4604-85bf-41ef-8e97-4724b7d56589" providerId="ADAL" clId="{C2F50CC8-BB77-46CD-95FB-EF379AF64C1B}" dt="2021-05-30T16:29:14.487" v="1455"/>
          <ac:spMkLst>
            <pc:docMk/>
            <pc:sldMk cId="3186503409" sldId="4181"/>
            <ac:spMk id="2" creationId="{CE520C66-4A72-4D9F-8CA2-37792391F489}"/>
          </ac:spMkLst>
        </pc:spChg>
        <pc:spChg chg="mod">
          <ac:chgData name="Michael Bailit" userId="6e5c4604-85bf-41ef-8e97-4724b7d56589" providerId="ADAL" clId="{C2F50CC8-BB77-46CD-95FB-EF379AF64C1B}" dt="2021-05-30T16:43:49.219" v="1723" actId="20577"/>
          <ac:spMkLst>
            <pc:docMk/>
            <pc:sldMk cId="3186503409" sldId="4181"/>
            <ac:spMk id="3" creationId="{789EBB61-BF5A-4C35-881F-E12FEF30E1AF}"/>
          </ac:spMkLst>
        </pc:spChg>
        <pc:spChg chg="del mod">
          <ac:chgData name="Michael Bailit" userId="6e5c4604-85bf-41ef-8e97-4724b7d56589" providerId="ADAL" clId="{C2F50CC8-BB77-46CD-95FB-EF379AF64C1B}" dt="2021-05-30T16:14:43.658" v="1068" actId="21"/>
          <ac:spMkLst>
            <pc:docMk/>
            <pc:sldMk cId="3186503409" sldId="4181"/>
            <ac:spMk id="4" creationId="{C28E06FC-6CFE-4F80-9783-644BD1C54E34}"/>
          </ac:spMkLst>
        </pc:spChg>
      </pc:sldChg>
      <pc:sldChg chg="modSp mod">
        <pc:chgData name="Michael Bailit" userId="6e5c4604-85bf-41ef-8e97-4724b7d56589" providerId="ADAL" clId="{C2F50CC8-BB77-46CD-95FB-EF379AF64C1B}" dt="2021-05-30T16:29:45.777" v="1459" actId="113"/>
        <pc:sldMkLst>
          <pc:docMk/>
          <pc:sldMk cId="3420785224" sldId="4182"/>
        </pc:sldMkLst>
        <pc:spChg chg="mod">
          <ac:chgData name="Michael Bailit" userId="6e5c4604-85bf-41ef-8e97-4724b7d56589" providerId="ADAL" clId="{C2F50CC8-BB77-46CD-95FB-EF379AF64C1B}" dt="2021-05-30T16:29:45.777" v="1459" actId="113"/>
          <ac:spMkLst>
            <pc:docMk/>
            <pc:sldMk cId="3420785224" sldId="4182"/>
            <ac:spMk id="2" creationId="{CE520C66-4A72-4D9F-8CA2-37792391F489}"/>
          </ac:spMkLst>
        </pc:spChg>
        <pc:spChg chg="mod">
          <ac:chgData name="Michael Bailit" userId="6e5c4604-85bf-41ef-8e97-4724b7d56589" providerId="ADAL" clId="{C2F50CC8-BB77-46CD-95FB-EF379AF64C1B}" dt="2021-05-30T16:19:12.933" v="1167" actId="20577"/>
          <ac:spMkLst>
            <pc:docMk/>
            <pc:sldMk cId="3420785224" sldId="4182"/>
            <ac:spMk id="3" creationId="{789EBB61-BF5A-4C35-881F-E12FEF30E1AF}"/>
          </ac:spMkLst>
        </pc:spChg>
      </pc:sldChg>
      <pc:sldChg chg="modSp mod modAnim">
        <pc:chgData name="Michael Bailit" userId="6e5c4604-85bf-41ef-8e97-4724b7d56589" providerId="ADAL" clId="{C2F50CC8-BB77-46CD-95FB-EF379AF64C1B}" dt="2021-05-30T16:44:27.634" v="1752" actId="20577"/>
        <pc:sldMkLst>
          <pc:docMk/>
          <pc:sldMk cId="1709521733" sldId="4183"/>
        </pc:sldMkLst>
        <pc:spChg chg="mod">
          <ac:chgData name="Michael Bailit" userId="6e5c4604-85bf-41ef-8e97-4724b7d56589" providerId="ADAL" clId="{C2F50CC8-BB77-46CD-95FB-EF379AF64C1B}" dt="2021-05-30T16:30:59.532" v="1495" actId="14100"/>
          <ac:spMkLst>
            <pc:docMk/>
            <pc:sldMk cId="1709521733" sldId="4183"/>
            <ac:spMk id="2" creationId="{CE520C66-4A72-4D9F-8CA2-37792391F489}"/>
          </ac:spMkLst>
        </pc:spChg>
        <pc:spChg chg="mod">
          <ac:chgData name="Michael Bailit" userId="6e5c4604-85bf-41ef-8e97-4724b7d56589" providerId="ADAL" clId="{C2F50CC8-BB77-46CD-95FB-EF379AF64C1B}" dt="2021-05-30T16:44:27.634" v="1752" actId="20577"/>
          <ac:spMkLst>
            <pc:docMk/>
            <pc:sldMk cId="1709521733" sldId="4183"/>
            <ac:spMk id="3" creationId="{789EBB61-BF5A-4C35-881F-E12FEF30E1AF}"/>
          </ac:spMkLst>
        </pc:spChg>
      </pc:sldChg>
      <pc:sldChg chg="modSp mod">
        <pc:chgData name="Michael Bailit" userId="6e5c4604-85bf-41ef-8e97-4724b7d56589" providerId="ADAL" clId="{C2F50CC8-BB77-46CD-95FB-EF379AF64C1B}" dt="2021-05-30T16:05:34.574" v="421" actId="20577"/>
        <pc:sldMkLst>
          <pc:docMk/>
          <pc:sldMk cId="1038601165" sldId="4184"/>
        </pc:sldMkLst>
        <pc:spChg chg="mod">
          <ac:chgData name="Michael Bailit" userId="6e5c4604-85bf-41ef-8e97-4724b7d56589" providerId="ADAL" clId="{C2F50CC8-BB77-46CD-95FB-EF379AF64C1B}" dt="2021-05-30T16:05:34.574" v="421" actId="20577"/>
          <ac:spMkLst>
            <pc:docMk/>
            <pc:sldMk cId="1038601165" sldId="4184"/>
            <ac:spMk id="2" creationId="{CE520C66-4A72-4D9F-8CA2-37792391F489}"/>
          </ac:spMkLst>
        </pc:spChg>
      </pc:sldChg>
      <pc:sldChg chg="modSp mod">
        <pc:chgData name="Michael Bailit" userId="6e5c4604-85bf-41ef-8e97-4724b7d56589" providerId="ADAL" clId="{C2F50CC8-BB77-46CD-95FB-EF379AF64C1B}" dt="2021-06-03T00:29:16.077" v="1765" actId="948"/>
        <pc:sldMkLst>
          <pc:docMk/>
          <pc:sldMk cId="3611978899" sldId="4185"/>
        </pc:sldMkLst>
        <pc:spChg chg="mod">
          <ac:chgData name="Michael Bailit" userId="6e5c4604-85bf-41ef-8e97-4724b7d56589" providerId="ADAL" clId="{C2F50CC8-BB77-46CD-95FB-EF379AF64C1B}" dt="2021-06-03T00:29:16.077" v="1765" actId="948"/>
          <ac:spMkLst>
            <pc:docMk/>
            <pc:sldMk cId="3611978899" sldId="4185"/>
            <ac:spMk id="3" creationId="{789EBB61-BF5A-4C35-881F-E12FEF30E1A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518ECC-9460-4045-B9C0-258538523A3F}" type="doc">
      <dgm:prSet loTypeId="urn:microsoft.com/office/officeart/2005/8/layout/chevron2" loCatId="process" qsTypeId="urn:microsoft.com/office/officeart/2005/8/quickstyle/simple1" qsCatId="simple" csTypeId="urn:microsoft.com/office/officeart/2005/8/colors/accent2_3" csCatId="accent2" phldr="1"/>
      <dgm:spPr/>
    </dgm:pt>
    <dgm:pt modelId="{31A91DA5-DA2B-4BD8-B20F-EFF58D6D92B2}">
      <dgm:prSet phldrT="[Text]" custT="1"/>
      <dgm:spPr/>
      <dgm:t>
        <a:bodyPr/>
        <a:lstStyle/>
        <a:p>
          <a:pPr algn="l"/>
          <a:r>
            <a:rPr lang="en-US" sz="1800" b="1" dirty="0"/>
            <a:t>Substance Use Assessment in Primary Care </a:t>
          </a:r>
          <a:r>
            <a:rPr lang="en-US" sz="1800" dirty="0"/>
            <a:t>becomes an </a:t>
          </a:r>
          <a:r>
            <a:rPr lang="en-US" sz="1800" b="0" dirty="0"/>
            <a:t>on-deck measure.</a:t>
          </a:r>
          <a:endParaRPr lang="en-US" sz="1800" b="1" dirty="0"/>
        </a:p>
      </dgm:t>
    </dgm:pt>
    <dgm:pt modelId="{B30EED09-E680-433A-911D-AA8C04725E3C}" type="parTrans" cxnId="{4EB97CDE-CDB9-4AFE-91D2-7AAABCF6B1B4}">
      <dgm:prSet/>
      <dgm:spPr/>
      <dgm:t>
        <a:bodyPr/>
        <a:lstStyle/>
        <a:p>
          <a:endParaRPr lang="en-US" sz="1800"/>
        </a:p>
      </dgm:t>
    </dgm:pt>
    <dgm:pt modelId="{607B96B2-CDAC-4EA3-B9EB-F1D0F9BE5B2D}" type="sibTrans" cxnId="{4EB97CDE-CDB9-4AFE-91D2-7AAABCF6B1B4}">
      <dgm:prSet/>
      <dgm:spPr/>
      <dgm:t>
        <a:bodyPr/>
        <a:lstStyle/>
        <a:p>
          <a:endParaRPr lang="en-US" sz="1800"/>
        </a:p>
      </dgm:t>
    </dgm:pt>
    <dgm:pt modelId="{725B96E3-817B-4FA3-AFDA-F9769E226CC5}">
      <dgm:prSet phldrT="[Text]" custT="1"/>
      <dgm:spPr/>
      <dgm:t>
        <a:bodyPr/>
        <a:lstStyle/>
        <a:p>
          <a:r>
            <a:rPr lang="en-US" sz="1800" b="1"/>
            <a:t>2023</a:t>
          </a:r>
          <a:endParaRPr lang="en-US" sz="1800" b="0"/>
        </a:p>
      </dgm:t>
    </dgm:pt>
    <dgm:pt modelId="{EA7DEBBC-D19F-4CD1-ABB3-22B27D34976A}" type="parTrans" cxnId="{D658013B-841E-4F12-AD25-B480E62FC8E4}">
      <dgm:prSet/>
      <dgm:spPr/>
      <dgm:t>
        <a:bodyPr/>
        <a:lstStyle/>
        <a:p>
          <a:endParaRPr lang="en-US" sz="1800"/>
        </a:p>
      </dgm:t>
    </dgm:pt>
    <dgm:pt modelId="{9057DA9D-6683-4371-8821-09C20E5CF43E}" type="sibTrans" cxnId="{D658013B-841E-4F12-AD25-B480E62FC8E4}">
      <dgm:prSet/>
      <dgm:spPr/>
      <dgm:t>
        <a:bodyPr/>
        <a:lstStyle/>
        <a:p>
          <a:endParaRPr lang="en-US" sz="1800"/>
        </a:p>
      </dgm:t>
    </dgm:pt>
    <dgm:pt modelId="{2A048CB9-428C-4EB9-BFA0-F34FA88CDF32}">
      <dgm:prSet phldrT="[Text]" custT="1"/>
      <dgm:spPr/>
      <dgm:t>
        <a:bodyPr/>
        <a:lstStyle/>
        <a:p>
          <a:r>
            <a:rPr lang="en-US" sz="1800" b="1"/>
            <a:t>2024</a:t>
          </a:r>
          <a:endParaRPr lang="en-US" sz="1800"/>
        </a:p>
      </dgm:t>
    </dgm:pt>
    <dgm:pt modelId="{F20F25FA-17BC-4593-AF2D-6E6A7CAF23D6}" type="parTrans" cxnId="{1114642E-6859-4B70-8C85-4275C8B29F4E}">
      <dgm:prSet/>
      <dgm:spPr/>
      <dgm:t>
        <a:bodyPr/>
        <a:lstStyle/>
        <a:p>
          <a:endParaRPr lang="en-US" sz="1800"/>
        </a:p>
      </dgm:t>
    </dgm:pt>
    <dgm:pt modelId="{5946C770-0B85-40A4-BEBD-AF63BB38BFCF}" type="sibTrans" cxnId="{1114642E-6859-4B70-8C85-4275C8B29F4E}">
      <dgm:prSet/>
      <dgm:spPr/>
      <dgm:t>
        <a:bodyPr/>
        <a:lstStyle/>
        <a:p>
          <a:endParaRPr lang="en-US" sz="1800"/>
        </a:p>
      </dgm:t>
    </dgm:pt>
    <dgm:pt modelId="{FB6D450A-12ED-4064-AEA9-B2E3E5C8E1EA}">
      <dgm:prSet phldrT="[Text]" custT="1"/>
      <dgm:spPr/>
      <dgm:t>
        <a:bodyPr/>
        <a:lstStyle/>
        <a:p>
          <a:pPr algn="ctr"/>
          <a:r>
            <a:rPr lang="en-US" sz="1800" b="1"/>
            <a:t>2022</a:t>
          </a:r>
        </a:p>
      </dgm:t>
    </dgm:pt>
    <dgm:pt modelId="{031C82AD-4A41-48DA-9521-D7BCB33EB614}" type="parTrans" cxnId="{FF04094A-70D2-4DE1-B0B5-23D107AA00E9}">
      <dgm:prSet/>
      <dgm:spPr/>
      <dgm:t>
        <a:bodyPr/>
        <a:lstStyle/>
        <a:p>
          <a:endParaRPr lang="en-US"/>
        </a:p>
      </dgm:t>
    </dgm:pt>
    <dgm:pt modelId="{ED7EDBCF-4028-4294-8B90-CD583A1285D6}" type="sibTrans" cxnId="{FF04094A-70D2-4DE1-B0B5-23D107AA00E9}">
      <dgm:prSet/>
      <dgm:spPr/>
      <dgm:t>
        <a:bodyPr/>
        <a:lstStyle/>
        <a:p>
          <a:endParaRPr lang="en-US"/>
        </a:p>
      </dgm:t>
    </dgm:pt>
    <dgm:pt modelId="{6FCD7D48-5D63-4D99-8059-B26A140FC8E1}">
      <dgm:prSet phldrT="[Text]" custT="1"/>
      <dgm:spPr/>
      <dgm:t>
        <a:bodyPr/>
        <a:lstStyle/>
        <a:p>
          <a:r>
            <a:rPr lang="en-US" sz="1800" b="1" dirty="0"/>
            <a:t>Substance Use Assessment in Primary Care </a:t>
          </a:r>
          <a:r>
            <a:rPr lang="en-US" sz="1800" dirty="0"/>
            <a:t>becomes a </a:t>
          </a:r>
          <a:r>
            <a:rPr lang="en-US" sz="1800" b="0" dirty="0"/>
            <a:t>Core Set reporting-only measure.</a:t>
          </a:r>
        </a:p>
      </dgm:t>
    </dgm:pt>
    <dgm:pt modelId="{FF475601-3A6A-44F3-999A-DC11A43A8CFC}" type="parTrans" cxnId="{E7AD8D5B-D231-4302-B019-4C4B701D4F6A}">
      <dgm:prSet/>
      <dgm:spPr/>
      <dgm:t>
        <a:bodyPr/>
        <a:lstStyle/>
        <a:p>
          <a:endParaRPr lang="en-US"/>
        </a:p>
      </dgm:t>
    </dgm:pt>
    <dgm:pt modelId="{D9F69DC1-ED8E-4FB9-A708-0AF976827497}" type="sibTrans" cxnId="{E7AD8D5B-D231-4302-B019-4C4B701D4F6A}">
      <dgm:prSet/>
      <dgm:spPr/>
      <dgm:t>
        <a:bodyPr/>
        <a:lstStyle/>
        <a:p>
          <a:endParaRPr lang="en-US"/>
        </a:p>
      </dgm:t>
    </dgm:pt>
    <dgm:pt modelId="{08F0ACF0-9FAC-480A-8794-E3DF7646B70C}">
      <dgm:prSet phldrT="[Text]" custT="1"/>
      <dgm:spPr/>
      <dgm:t>
        <a:bodyPr/>
        <a:lstStyle/>
        <a:p>
          <a:r>
            <a:rPr lang="en-US" sz="1800" b="1" dirty="0"/>
            <a:t>Substance Use Assessment in Primary Care</a:t>
          </a:r>
          <a:r>
            <a:rPr lang="en-US" sz="1800" dirty="0"/>
            <a:t> becomes a Core Set pay-for-performance measure. </a:t>
          </a:r>
        </a:p>
      </dgm:t>
    </dgm:pt>
    <dgm:pt modelId="{54A12295-D15C-4D58-A835-B45951F45B95}" type="parTrans" cxnId="{D6DD5AEE-89D2-4ACE-8C91-EA7D9983B64F}">
      <dgm:prSet/>
      <dgm:spPr/>
      <dgm:t>
        <a:bodyPr/>
        <a:lstStyle/>
        <a:p>
          <a:endParaRPr lang="en-US"/>
        </a:p>
      </dgm:t>
    </dgm:pt>
    <dgm:pt modelId="{1255C769-0350-43E4-B895-C192999117BC}" type="sibTrans" cxnId="{D6DD5AEE-89D2-4ACE-8C91-EA7D9983B64F}">
      <dgm:prSet/>
      <dgm:spPr/>
      <dgm:t>
        <a:bodyPr/>
        <a:lstStyle/>
        <a:p>
          <a:endParaRPr lang="en-US"/>
        </a:p>
      </dgm:t>
    </dgm:pt>
    <dgm:pt modelId="{0AC9A512-B331-4D05-955B-177070228ABF}">
      <dgm:prSet phldrT="[Text]" custT="1"/>
      <dgm:spPr/>
      <dgm:t>
        <a:bodyPr/>
        <a:lstStyle/>
        <a:p>
          <a:pPr algn="l"/>
          <a:r>
            <a:rPr lang="en-US" sz="1800" b="1" dirty="0"/>
            <a:t>IET</a:t>
          </a:r>
          <a:r>
            <a:rPr lang="en-US" sz="1800" b="0" dirty="0"/>
            <a:t> remains in the Menu Set </a:t>
          </a:r>
          <a:endParaRPr lang="en-US" sz="1800" b="1" dirty="0"/>
        </a:p>
      </dgm:t>
    </dgm:pt>
    <dgm:pt modelId="{249C4B85-7D19-47CD-A13B-89B765369E1C}" type="parTrans" cxnId="{C30F7386-B8D8-4ABA-87B8-A4DB273A012F}">
      <dgm:prSet/>
      <dgm:spPr/>
      <dgm:t>
        <a:bodyPr/>
        <a:lstStyle/>
        <a:p>
          <a:endParaRPr lang="en-US"/>
        </a:p>
      </dgm:t>
    </dgm:pt>
    <dgm:pt modelId="{8955CD32-E820-44B3-BC1B-F040CBBBC8D9}" type="sibTrans" cxnId="{C30F7386-B8D8-4ABA-87B8-A4DB273A012F}">
      <dgm:prSet/>
      <dgm:spPr/>
      <dgm:t>
        <a:bodyPr/>
        <a:lstStyle/>
        <a:p>
          <a:endParaRPr lang="en-US"/>
        </a:p>
      </dgm:t>
    </dgm:pt>
    <dgm:pt modelId="{412C039C-8110-4F61-A9C6-5F2DE51BDA41}">
      <dgm:prSet phldrT="[Text]" custT="1"/>
      <dgm:spPr/>
      <dgm:t>
        <a:bodyPr/>
        <a:lstStyle/>
        <a:p>
          <a:r>
            <a:rPr lang="en-US" sz="1800" b="1" dirty="0"/>
            <a:t>IET</a:t>
          </a:r>
          <a:r>
            <a:rPr lang="en-US" sz="1800" b="0" dirty="0"/>
            <a:t> remains in the Menu Set.   </a:t>
          </a:r>
        </a:p>
      </dgm:t>
    </dgm:pt>
    <dgm:pt modelId="{465CB8F8-CDC0-401E-9841-5D53F17438E3}" type="parTrans" cxnId="{08C26482-4E23-4F91-BF1D-D88B8BCBBF56}">
      <dgm:prSet/>
      <dgm:spPr/>
      <dgm:t>
        <a:bodyPr/>
        <a:lstStyle/>
        <a:p>
          <a:endParaRPr lang="en-US"/>
        </a:p>
      </dgm:t>
    </dgm:pt>
    <dgm:pt modelId="{0C940AE6-2685-45D2-99E1-F9EBF909C4EF}" type="sibTrans" cxnId="{08C26482-4E23-4F91-BF1D-D88B8BCBBF56}">
      <dgm:prSet/>
      <dgm:spPr/>
      <dgm:t>
        <a:bodyPr/>
        <a:lstStyle/>
        <a:p>
          <a:endParaRPr lang="en-US"/>
        </a:p>
      </dgm:t>
    </dgm:pt>
    <dgm:pt modelId="{A1624BD5-02B8-4616-ACBE-D7F008B0B019}">
      <dgm:prSet phldrT="[Text]" custT="1"/>
      <dgm:spPr/>
      <dgm:t>
        <a:bodyPr/>
        <a:lstStyle/>
        <a:p>
          <a:r>
            <a:rPr lang="en-US" sz="1800" b="1" dirty="0"/>
            <a:t>IET</a:t>
          </a:r>
          <a:r>
            <a:rPr lang="en-US" sz="1800" dirty="0"/>
            <a:t> drops from the Menu Set if NCQA has not yet demonstrated validity.</a:t>
          </a:r>
        </a:p>
      </dgm:t>
    </dgm:pt>
    <dgm:pt modelId="{6B4A0287-6DFE-459A-A3A2-C14C9C902671}" type="parTrans" cxnId="{105FF7B0-5025-47A1-8092-3DA0D07C7514}">
      <dgm:prSet/>
      <dgm:spPr/>
      <dgm:t>
        <a:bodyPr/>
        <a:lstStyle/>
        <a:p>
          <a:endParaRPr lang="en-US"/>
        </a:p>
      </dgm:t>
    </dgm:pt>
    <dgm:pt modelId="{7876B598-CFF8-4959-BB9E-6B1FCA0B4442}" type="sibTrans" cxnId="{105FF7B0-5025-47A1-8092-3DA0D07C7514}">
      <dgm:prSet/>
      <dgm:spPr/>
      <dgm:t>
        <a:bodyPr/>
        <a:lstStyle/>
        <a:p>
          <a:endParaRPr lang="en-US"/>
        </a:p>
      </dgm:t>
    </dgm:pt>
    <dgm:pt modelId="{FD827545-E7D3-4297-B8E7-640E56B99933}">
      <dgm:prSet phldrT="[Text]" custT="1"/>
      <dgm:spPr/>
      <dgm:t>
        <a:bodyPr/>
        <a:lstStyle/>
        <a:p>
          <a:r>
            <a:rPr lang="en-US" sz="1800" b="1"/>
            <a:t>2025</a:t>
          </a:r>
        </a:p>
      </dgm:t>
    </dgm:pt>
    <dgm:pt modelId="{39EA10C9-6D2C-4BE2-AE36-0FCDF2D11A10}" type="sibTrans" cxnId="{D5DBECD7-F464-4D16-8B28-4E08879B56CA}">
      <dgm:prSet/>
      <dgm:spPr/>
      <dgm:t>
        <a:bodyPr/>
        <a:lstStyle/>
        <a:p>
          <a:endParaRPr lang="en-US"/>
        </a:p>
      </dgm:t>
    </dgm:pt>
    <dgm:pt modelId="{8C2508BC-9C2C-4550-B0DE-94F51AE5265F}" type="parTrans" cxnId="{D5DBECD7-F464-4D16-8B28-4E08879B56CA}">
      <dgm:prSet/>
      <dgm:spPr/>
      <dgm:t>
        <a:bodyPr/>
        <a:lstStyle/>
        <a:p>
          <a:endParaRPr lang="en-US"/>
        </a:p>
      </dgm:t>
    </dgm:pt>
    <dgm:pt modelId="{2C6EEEE3-8E56-4C00-B472-3F4B3BF15080}">
      <dgm:prSet phldrT="[Text]" custT="1"/>
      <dgm:spPr/>
      <dgm:t>
        <a:bodyPr/>
        <a:lstStyle/>
        <a:p>
          <a:r>
            <a:rPr lang="en-US" sz="1800" dirty="0"/>
            <a:t>A future measure that </a:t>
          </a:r>
          <a:r>
            <a:rPr lang="en-US" sz="1800" b="0" dirty="0"/>
            <a:t>incorporates </a:t>
          </a:r>
          <a:r>
            <a:rPr lang="en-US" sz="1800" b="1" dirty="0"/>
            <a:t>follow-up </a:t>
          </a:r>
          <a:r>
            <a:rPr lang="en-US" sz="1800" b="0" dirty="0"/>
            <a:t>and</a:t>
          </a:r>
          <a:r>
            <a:rPr lang="en-US" sz="1800" b="1" dirty="0"/>
            <a:t> adults and adolescents </a:t>
          </a:r>
          <a:r>
            <a:rPr lang="en-US" sz="1800" b="0" dirty="0"/>
            <a:t>is introduced as an on deck or Menu Measure.</a:t>
          </a:r>
        </a:p>
      </dgm:t>
    </dgm:pt>
    <dgm:pt modelId="{9AC49413-7B6B-4806-ADD4-DCDD0AC823B1}" type="sibTrans" cxnId="{DAD39CA9-8E07-4A80-AF6F-0AD0F0AAE2D1}">
      <dgm:prSet/>
      <dgm:spPr/>
      <dgm:t>
        <a:bodyPr/>
        <a:lstStyle/>
        <a:p>
          <a:endParaRPr lang="en-US"/>
        </a:p>
      </dgm:t>
    </dgm:pt>
    <dgm:pt modelId="{BEDC48FB-9436-42BF-BE05-71EFC7F5CC26}" type="parTrans" cxnId="{DAD39CA9-8E07-4A80-AF6F-0AD0F0AAE2D1}">
      <dgm:prSet/>
      <dgm:spPr/>
      <dgm:t>
        <a:bodyPr/>
        <a:lstStyle/>
        <a:p>
          <a:endParaRPr lang="en-US"/>
        </a:p>
      </dgm:t>
    </dgm:pt>
    <dgm:pt modelId="{308CEF10-443E-4B6C-BB0C-5A5546C1CF6C}" type="pres">
      <dgm:prSet presAssocID="{E2518ECC-9460-4045-B9C0-258538523A3F}" presName="linearFlow" presStyleCnt="0">
        <dgm:presLayoutVars>
          <dgm:dir/>
          <dgm:animLvl val="lvl"/>
          <dgm:resizeHandles val="exact"/>
        </dgm:presLayoutVars>
      </dgm:prSet>
      <dgm:spPr/>
    </dgm:pt>
    <dgm:pt modelId="{ECC06017-8619-476B-8748-BF5B83331942}" type="pres">
      <dgm:prSet presAssocID="{FB6D450A-12ED-4064-AEA9-B2E3E5C8E1EA}" presName="composite" presStyleCnt="0"/>
      <dgm:spPr/>
    </dgm:pt>
    <dgm:pt modelId="{70F5ECC1-D2A1-486D-B115-C1FF13CB6638}" type="pres">
      <dgm:prSet presAssocID="{FB6D450A-12ED-4064-AEA9-B2E3E5C8E1EA}" presName="parentText" presStyleLbl="alignNode1" presStyleIdx="0" presStyleCnt="4">
        <dgm:presLayoutVars>
          <dgm:chMax val="1"/>
          <dgm:bulletEnabled val="1"/>
        </dgm:presLayoutVars>
      </dgm:prSet>
      <dgm:spPr/>
    </dgm:pt>
    <dgm:pt modelId="{0805AC79-8391-438C-BB12-AC732B62179A}" type="pres">
      <dgm:prSet presAssocID="{FB6D450A-12ED-4064-AEA9-B2E3E5C8E1EA}" presName="descendantText" presStyleLbl="alignAcc1" presStyleIdx="0" presStyleCnt="4">
        <dgm:presLayoutVars>
          <dgm:bulletEnabled val="1"/>
        </dgm:presLayoutVars>
      </dgm:prSet>
      <dgm:spPr/>
    </dgm:pt>
    <dgm:pt modelId="{BC2B9D8F-1468-41E5-A07B-AB250480C658}" type="pres">
      <dgm:prSet presAssocID="{ED7EDBCF-4028-4294-8B90-CD583A1285D6}" presName="sp" presStyleCnt="0"/>
      <dgm:spPr/>
    </dgm:pt>
    <dgm:pt modelId="{C1B36C59-AFEA-4EDE-A41F-2C8094FA53AD}" type="pres">
      <dgm:prSet presAssocID="{725B96E3-817B-4FA3-AFDA-F9769E226CC5}" presName="composite" presStyleCnt="0"/>
      <dgm:spPr/>
    </dgm:pt>
    <dgm:pt modelId="{377D0830-449B-4B19-9146-F4A4E49F53AD}" type="pres">
      <dgm:prSet presAssocID="{725B96E3-817B-4FA3-AFDA-F9769E226CC5}" presName="parentText" presStyleLbl="alignNode1" presStyleIdx="1" presStyleCnt="4">
        <dgm:presLayoutVars>
          <dgm:chMax val="1"/>
          <dgm:bulletEnabled val="1"/>
        </dgm:presLayoutVars>
      </dgm:prSet>
      <dgm:spPr/>
    </dgm:pt>
    <dgm:pt modelId="{0682D041-0C60-4441-9BBE-CE4EB55EFDCA}" type="pres">
      <dgm:prSet presAssocID="{725B96E3-817B-4FA3-AFDA-F9769E226CC5}" presName="descendantText" presStyleLbl="alignAcc1" presStyleIdx="1" presStyleCnt="4">
        <dgm:presLayoutVars>
          <dgm:bulletEnabled val="1"/>
        </dgm:presLayoutVars>
      </dgm:prSet>
      <dgm:spPr/>
    </dgm:pt>
    <dgm:pt modelId="{48E1050C-B819-4C69-8184-CA7F99AEF9C1}" type="pres">
      <dgm:prSet presAssocID="{9057DA9D-6683-4371-8821-09C20E5CF43E}" presName="sp" presStyleCnt="0"/>
      <dgm:spPr/>
    </dgm:pt>
    <dgm:pt modelId="{75371DD4-4174-424C-A649-76DC86179056}" type="pres">
      <dgm:prSet presAssocID="{2A048CB9-428C-4EB9-BFA0-F34FA88CDF32}" presName="composite" presStyleCnt="0"/>
      <dgm:spPr/>
    </dgm:pt>
    <dgm:pt modelId="{31D81FA0-FB8C-43B6-8C8F-0A541293DE24}" type="pres">
      <dgm:prSet presAssocID="{2A048CB9-428C-4EB9-BFA0-F34FA88CDF32}" presName="parentText" presStyleLbl="alignNode1" presStyleIdx="2" presStyleCnt="4" custLinFactNeighborY="-10276">
        <dgm:presLayoutVars>
          <dgm:chMax val="1"/>
          <dgm:bulletEnabled val="1"/>
        </dgm:presLayoutVars>
      </dgm:prSet>
      <dgm:spPr/>
    </dgm:pt>
    <dgm:pt modelId="{F2758F95-0A9D-4E5F-9C19-0022C08E3C07}" type="pres">
      <dgm:prSet presAssocID="{2A048CB9-428C-4EB9-BFA0-F34FA88CDF32}" presName="descendantText" presStyleLbl="alignAcc1" presStyleIdx="2" presStyleCnt="4" custScaleY="130769">
        <dgm:presLayoutVars>
          <dgm:bulletEnabled val="1"/>
        </dgm:presLayoutVars>
      </dgm:prSet>
      <dgm:spPr/>
    </dgm:pt>
    <dgm:pt modelId="{C28916D2-E316-4F08-9D5C-AFEA2F8D6AD9}" type="pres">
      <dgm:prSet presAssocID="{5946C770-0B85-40A4-BEBD-AF63BB38BFCF}" presName="sp" presStyleCnt="0"/>
      <dgm:spPr/>
    </dgm:pt>
    <dgm:pt modelId="{E0190F91-AF2C-49B5-A0A3-B045C71D480A}" type="pres">
      <dgm:prSet presAssocID="{FD827545-E7D3-4297-B8E7-640E56B99933}" presName="composite" presStyleCnt="0"/>
      <dgm:spPr/>
    </dgm:pt>
    <dgm:pt modelId="{EB71BDC0-56DB-478B-8FC1-75A0FB0AE4C5}" type="pres">
      <dgm:prSet presAssocID="{FD827545-E7D3-4297-B8E7-640E56B99933}" presName="parentText" presStyleLbl="alignNode1" presStyleIdx="3" presStyleCnt="4" custLinFactNeighborX="-4641" custLinFactNeighborY="-10528">
        <dgm:presLayoutVars>
          <dgm:chMax val="1"/>
          <dgm:bulletEnabled val="1"/>
        </dgm:presLayoutVars>
      </dgm:prSet>
      <dgm:spPr/>
    </dgm:pt>
    <dgm:pt modelId="{2D0DDE45-1522-487B-823D-96A43F5E2C7B}" type="pres">
      <dgm:prSet presAssocID="{FD827545-E7D3-4297-B8E7-640E56B99933}" presName="descendantText" presStyleLbl="alignAcc1" presStyleIdx="3" presStyleCnt="4" custScaleY="129676">
        <dgm:presLayoutVars>
          <dgm:bulletEnabled val="1"/>
        </dgm:presLayoutVars>
      </dgm:prSet>
      <dgm:spPr/>
    </dgm:pt>
  </dgm:ptLst>
  <dgm:cxnLst>
    <dgm:cxn modelId="{4D0EA800-AFAA-4D62-96A2-BDAED62AE08C}" type="presOf" srcId="{412C039C-8110-4F61-A9C6-5F2DE51BDA41}" destId="{0682D041-0C60-4441-9BBE-CE4EB55EFDCA}" srcOrd="0" destOrd="1" presId="urn:microsoft.com/office/officeart/2005/8/layout/chevron2"/>
    <dgm:cxn modelId="{7EB73E10-0658-48E5-A685-DF0E4D64D39F}" type="presOf" srcId="{0AC9A512-B331-4D05-955B-177070228ABF}" destId="{0805AC79-8391-438C-BB12-AC732B62179A}" srcOrd="0" destOrd="1" presId="urn:microsoft.com/office/officeart/2005/8/layout/chevron2"/>
    <dgm:cxn modelId="{D83BAB20-B46F-4282-9542-BF05BFAF23C0}" type="presOf" srcId="{E2518ECC-9460-4045-B9C0-258538523A3F}" destId="{308CEF10-443E-4B6C-BB0C-5A5546C1CF6C}" srcOrd="0" destOrd="0" presId="urn:microsoft.com/office/officeart/2005/8/layout/chevron2"/>
    <dgm:cxn modelId="{1114642E-6859-4B70-8C85-4275C8B29F4E}" srcId="{E2518ECC-9460-4045-B9C0-258538523A3F}" destId="{2A048CB9-428C-4EB9-BFA0-F34FA88CDF32}" srcOrd="2" destOrd="0" parTransId="{F20F25FA-17BC-4593-AF2D-6E6A7CAF23D6}" sibTransId="{5946C770-0B85-40A4-BEBD-AF63BB38BFCF}"/>
    <dgm:cxn modelId="{D658013B-841E-4F12-AD25-B480E62FC8E4}" srcId="{E2518ECC-9460-4045-B9C0-258538523A3F}" destId="{725B96E3-817B-4FA3-AFDA-F9769E226CC5}" srcOrd="1" destOrd="0" parTransId="{EA7DEBBC-D19F-4CD1-ABB3-22B27D34976A}" sibTransId="{9057DA9D-6683-4371-8821-09C20E5CF43E}"/>
    <dgm:cxn modelId="{E7AD8D5B-D231-4302-B019-4C4B701D4F6A}" srcId="{725B96E3-817B-4FA3-AFDA-F9769E226CC5}" destId="{6FCD7D48-5D63-4D99-8059-B26A140FC8E1}" srcOrd="0" destOrd="0" parTransId="{FF475601-3A6A-44F3-999A-DC11A43A8CFC}" sibTransId="{D9F69DC1-ED8E-4FB9-A708-0AF976827497}"/>
    <dgm:cxn modelId="{D9112444-2CF5-4C1E-A7A4-57BAEAEBB8ED}" type="presOf" srcId="{08F0ACF0-9FAC-480A-8794-E3DF7646B70C}" destId="{F2758F95-0A9D-4E5F-9C19-0022C08E3C07}" srcOrd="0" destOrd="0" presId="urn:microsoft.com/office/officeart/2005/8/layout/chevron2"/>
    <dgm:cxn modelId="{FF04094A-70D2-4DE1-B0B5-23D107AA00E9}" srcId="{E2518ECC-9460-4045-B9C0-258538523A3F}" destId="{FB6D450A-12ED-4064-AEA9-B2E3E5C8E1EA}" srcOrd="0" destOrd="0" parTransId="{031C82AD-4A41-48DA-9521-D7BCB33EB614}" sibTransId="{ED7EDBCF-4028-4294-8B90-CD583A1285D6}"/>
    <dgm:cxn modelId="{3F83907E-7D26-480C-A09F-88DD02337B84}" type="presOf" srcId="{2C6EEEE3-8E56-4C00-B472-3F4B3BF15080}" destId="{2D0DDE45-1522-487B-823D-96A43F5E2C7B}" srcOrd="0" destOrd="0" presId="urn:microsoft.com/office/officeart/2005/8/layout/chevron2"/>
    <dgm:cxn modelId="{08C26482-4E23-4F91-BF1D-D88B8BCBBF56}" srcId="{725B96E3-817B-4FA3-AFDA-F9769E226CC5}" destId="{412C039C-8110-4F61-A9C6-5F2DE51BDA41}" srcOrd="1" destOrd="0" parTransId="{465CB8F8-CDC0-401E-9841-5D53F17438E3}" sibTransId="{0C940AE6-2685-45D2-99E1-F9EBF909C4EF}"/>
    <dgm:cxn modelId="{C30F7386-B8D8-4ABA-87B8-A4DB273A012F}" srcId="{FB6D450A-12ED-4064-AEA9-B2E3E5C8E1EA}" destId="{0AC9A512-B331-4D05-955B-177070228ABF}" srcOrd="1" destOrd="0" parTransId="{249C4B85-7D19-47CD-A13B-89B765369E1C}" sibTransId="{8955CD32-E820-44B3-BC1B-F040CBBBC8D9}"/>
    <dgm:cxn modelId="{401071A4-FC59-4E06-9E92-DF8DD173DDE2}" type="presOf" srcId="{6FCD7D48-5D63-4D99-8059-B26A140FC8E1}" destId="{0682D041-0C60-4441-9BBE-CE4EB55EFDCA}" srcOrd="0" destOrd="0" presId="urn:microsoft.com/office/officeart/2005/8/layout/chevron2"/>
    <dgm:cxn modelId="{DAD39CA9-8E07-4A80-AF6F-0AD0F0AAE2D1}" srcId="{FD827545-E7D3-4297-B8E7-640E56B99933}" destId="{2C6EEEE3-8E56-4C00-B472-3F4B3BF15080}" srcOrd="0" destOrd="0" parTransId="{BEDC48FB-9436-42BF-BE05-71EFC7F5CC26}" sibTransId="{9AC49413-7B6B-4806-ADD4-DCDD0AC823B1}"/>
    <dgm:cxn modelId="{105FF7B0-5025-47A1-8092-3DA0D07C7514}" srcId="{2A048CB9-428C-4EB9-BFA0-F34FA88CDF32}" destId="{A1624BD5-02B8-4616-ACBE-D7F008B0B019}" srcOrd="1" destOrd="0" parTransId="{6B4A0287-6DFE-459A-A3A2-C14C9C902671}" sibTransId="{7876B598-CFF8-4959-BB9E-6B1FCA0B4442}"/>
    <dgm:cxn modelId="{9C21B4B4-944A-4AA4-A45D-C69A30C15430}" type="presOf" srcId="{FB6D450A-12ED-4064-AEA9-B2E3E5C8E1EA}" destId="{70F5ECC1-D2A1-486D-B115-C1FF13CB6638}" srcOrd="0" destOrd="0" presId="urn:microsoft.com/office/officeart/2005/8/layout/chevron2"/>
    <dgm:cxn modelId="{B75012B9-24D7-47C0-A422-16AE66AFE010}" type="presOf" srcId="{725B96E3-817B-4FA3-AFDA-F9769E226CC5}" destId="{377D0830-449B-4B19-9146-F4A4E49F53AD}" srcOrd="0" destOrd="0" presId="urn:microsoft.com/office/officeart/2005/8/layout/chevron2"/>
    <dgm:cxn modelId="{D5DBECD7-F464-4D16-8B28-4E08879B56CA}" srcId="{E2518ECC-9460-4045-B9C0-258538523A3F}" destId="{FD827545-E7D3-4297-B8E7-640E56B99933}" srcOrd="3" destOrd="0" parTransId="{8C2508BC-9C2C-4550-B0DE-94F51AE5265F}" sibTransId="{39EA10C9-6D2C-4BE2-AE36-0FCDF2D11A10}"/>
    <dgm:cxn modelId="{4EB97CDE-CDB9-4AFE-91D2-7AAABCF6B1B4}" srcId="{FB6D450A-12ED-4064-AEA9-B2E3E5C8E1EA}" destId="{31A91DA5-DA2B-4BD8-B20F-EFF58D6D92B2}" srcOrd="0" destOrd="0" parTransId="{B30EED09-E680-433A-911D-AA8C04725E3C}" sibTransId="{607B96B2-CDAC-4EA3-B9EB-F1D0F9BE5B2D}"/>
    <dgm:cxn modelId="{87AA8AEC-D2E3-406A-9480-AA03EE5FC572}" type="presOf" srcId="{FD827545-E7D3-4297-B8E7-640E56B99933}" destId="{EB71BDC0-56DB-478B-8FC1-75A0FB0AE4C5}" srcOrd="0" destOrd="0" presId="urn:microsoft.com/office/officeart/2005/8/layout/chevron2"/>
    <dgm:cxn modelId="{D6DD5AEE-89D2-4ACE-8C91-EA7D9983B64F}" srcId="{2A048CB9-428C-4EB9-BFA0-F34FA88CDF32}" destId="{08F0ACF0-9FAC-480A-8794-E3DF7646B70C}" srcOrd="0" destOrd="0" parTransId="{54A12295-D15C-4D58-A835-B45951F45B95}" sibTransId="{1255C769-0350-43E4-B895-C192999117BC}"/>
    <dgm:cxn modelId="{58C2DBF1-D43E-4E7D-BC70-1FB46F861276}" type="presOf" srcId="{2A048CB9-428C-4EB9-BFA0-F34FA88CDF32}" destId="{31D81FA0-FB8C-43B6-8C8F-0A541293DE24}" srcOrd="0" destOrd="0" presId="urn:microsoft.com/office/officeart/2005/8/layout/chevron2"/>
    <dgm:cxn modelId="{EFFC90F2-7014-4B3B-A641-51FB3EF2B14F}" type="presOf" srcId="{A1624BD5-02B8-4616-ACBE-D7F008B0B019}" destId="{F2758F95-0A9D-4E5F-9C19-0022C08E3C07}" srcOrd="0" destOrd="1" presId="urn:microsoft.com/office/officeart/2005/8/layout/chevron2"/>
    <dgm:cxn modelId="{C81866FA-96A4-451B-A866-7C1B892652A0}" type="presOf" srcId="{31A91DA5-DA2B-4BD8-B20F-EFF58D6D92B2}" destId="{0805AC79-8391-438C-BB12-AC732B62179A}" srcOrd="0" destOrd="0" presId="urn:microsoft.com/office/officeart/2005/8/layout/chevron2"/>
    <dgm:cxn modelId="{F31FE063-FFCD-406B-BE31-F924440AAFEB}" type="presParOf" srcId="{308CEF10-443E-4B6C-BB0C-5A5546C1CF6C}" destId="{ECC06017-8619-476B-8748-BF5B83331942}" srcOrd="0" destOrd="0" presId="urn:microsoft.com/office/officeart/2005/8/layout/chevron2"/>
    <dgm:cxn modelId="{538B3179-852C-4260-871E-0755A618D5CD}" type="presParOf" srcId="{ECC06017-8619-476B-8748-BF5B83331942}" destId="{70F5ECC1-D2A1-486D-B115-C1FF13CB6638}" srcOrd="0" destOrd="0" presId="urn:microsoft.com/office/officeart/2005/8/layout/chevron2"/>
    <dgm:cxn modelId="{94AB8485-F4B3-47DF-91BB-AB3FBB395889}" type="presParOf" srcId="{ECC06017-8619-476B-8748-BF5B83331942}" destId="{0805AC79-8391-438C-BB12-AC732B62179A}" srcOrd="1" destOrd="0" presId="urn:microsoft.com/office/officeart/2005/8/layout/chevron2"/>
    <dgm:cxn modelId="{5B8C4430-A47C-4D22-A56E-A5E028D2F421}" type="presParOf" srcId="{308CEF10-443E-4B6C-BB0C-5A5546C1CF6C}" destId="{BC2B9D8F-1468-41E5-A07B-AB250480C658}" srcOrd="1" destOrd="0" presId="urn:microsoft.com/office/officeart/2005/8/layout/chevron2"/>
    <dgm:cxn modelId="{0ABAE0FA-842C-4482-9C96-28349718CBBB}" type="presParOf" srcId="{308CEF10-443E-4B6C-BB0C-5A5546C1CF6C}" destId="{C1B36C59-AFEA-4EDE-A41F-2C8094FA53AD}" srcOrd="2" destOrd="0" presId="urn:microsoft.com/office/officeart/2005/8/layout/chevron2"/>
    <dgm:cxn modelId="{3D7EFF5A-9288-483A-9BEE-048262656E1D}" type="presParOf" srcId="{C1B36C59-AFEA-4EDE-A41F-2C8094FA53AD}" destId="{377D0830-449B-4B19-9146-F4A4E49F53AD}" srcOrd="0" destOrd="0" presId="urn:microsoft.com/office/officeart/2005/8/layout/chevron2"/>
    <dgm:cxn modelId="{9D4FE3BD-63D3-4B55-928A-D6BA162218FF}" type="presParOf" srcId="{C1B36C59-AFEA-4EDE-A41F-2C8094FA53AD}" destId="{0682D041-0C60-4441-9BBE-CE4EB55EFDCA}" srcOrd="1" destOrd="0" presId="urn:microsoft.com/office/officeart/2005/8/layout/chevron2"/>
    <dgm:cxn modelId="{71A470CA-277F-4961-AF21-3767B70F32C7}" type="presParOf" srcId="{308CEF10-443E-4B6C-BB0C-5A5546C1CF6C}" destId="{48E1050C-B819-4C69-8184-CA7F99AEF9C1}" srcOrd="3" destOrd="0" presId="urn:microsoft.com/office/officeart/2005/8/layout/chevron2"/>
    <dgm:cxn modelId="{32520912-1C43-469F-9C09-66443C1CAA03}" type="presParOf" srcId="{308CEF10-443E-4B6C-BB0C-5A5546C1CF6C}" destId="{75371DD4-4174-424C-A649-76DC86179056}" srcOrd="4" destOrd="0" presId="urn:microsoft.com/office/officeart/2005/8/layout/chevron2"/>
    <dgm:cxn modelId="{E9F9D401-EEEA-4066-8C92-50360DBD6594}" type="presParOf" srcId="{75371DD4-4174-424C-A649-76DC86179056}" destId="{31D81FA0-FB8C-43B6-8C8F-0A541293DE24}" srcOrd="0" destOrd="0" presId="urn:microsoft.com/office/officeart/2005/8/layout/chevron2"/>
    <dgm:cxn modelId="{29114BB5-F484-4E95-8FEA-08D24BFFE93C}" type="presParOf" srcId="{75371DD4-4174-424C-A649-76DC86179056}" destId="{F2758F95-0A9D-4E5F-9C19-0022C08E3C07}" srcOrd="1" destOrd="0" presId="urn:microsoft.com/office/officeart/2005/8/layout/chevron2"/>
    <dgm:cxn modelId="{E161801C-2AD2-4EFB-8FEE-274349547257}" type="presParOf" srcId="{308CEF10-443E-4B6C-BB0C-5A5546C1CF6C}" destId="{C28916D2-E316-4F08-9D5C-AFEA2F8D6AD9}" srcOrd="5" destOrd="0" presId="urn:microsoft.com/office/officeart/2005/8/layout/chevron2"/>
    <dgm:cxn modelId="{E709AE33-6B70-4E29-B0A4-89E1F64CC6ED}" type="presParOf" srcId="{308CEF10-443E-4B6C-BB0C-5A5546C1CF6C}" destId="{E0190F91-AF2C-49B5-A0A3-B045C71D480A}" srcOrd="6" destOrd="0" presId="urn:microsoft.com/office/officeart/2005/8/layout/chevron2"/>
    <dgm:cxn modelId="{30F60121-3535-4D42-8D4C-9248848127BC}" type="presParOf" srcId="{E0190F91-AF2C-49B5-A0A3-B045C71D480A}" destId="{EB71BDC0-56DB-478B-8FC1-75A0FB0AE4C5}" srcOrd="0" destOrd="0" presId="urn:microsoft.com/office/officeart/2005/8/layout/chevron2"/>
    <dgm:cxn modelId="{DD9A123E-F666-476C-9FD3-3E60F21BE9BF}" type="presParOf" srcId="{E0190F91-AF2C-49B5-A0A3-B045C71D480A}" destId="{2D0DDE45-1522-487B-823D-96A43F5E2C7B}"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F5ECC1-D2A1-486D-B115-C1FF13CB6638}">
      <dsp:nvSpPr>
        <dsp:cNvPr id="0" name=""/>
        <dsp:cNvSpPr/>
      </dsp:nvSpPr>
      <dsp:spPr>
        <a:xfrm rot="5400000">
          <a:off x="-191927" y="202405"/>
          <a:ext cx="1279514" cy="895660"/>
        </a:xfrm>
        <a:prstGeom prst="chevron">
          <a:avLst/>
        </a:prstGeom>
        <a:solidFill>
          <a:schemeClr val="accent2">
            <a:shade val="8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a:t>2022</a:t>
          </a:r>
        </a:p>
      </dsp:txBody>
      <dsp:txXfrm rot="-5400000">
        <a:off x="0" y="458308"/>
        <a:ext cx="895660" cy="383854"/>
      </dsp:txXfrm>
    </dsp:sp>
    <dsp:sp modelId="{0805AC79-8391-438C-BB12-AC732B62179A}">
      <dsp:nvSpPr>
        <dsp:cNvPr id="0" name=""/>
        <dsp:cNvSpPr/>
      </dsp:nvSpPr>
      <dsp:spPr>
        <a:xfrm rot="5400000">
          <a:off x="4070587" y="-3164449"/>
          <a:ext cx="831684" cy="7181539"/>
        </a:xfrm>
        <a:prstGeom prst="round2SameRect">
          <a:avLst/>
        </a:prstGeom>
        <a:solidFill>
          <a:schemeClr val="lt1">
            <a:alpha val="9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b="1" kern="1200" dirty="0"/>
            <a:t>Substance Use Assessment in Primary Care </a:t>
          </a:r>
          <a:r>
            <a:rPr lang="en-US" sz="1800" kern="1200" dirty="0"/>
            <a:t>becomes an </a:t>
          </a:r>
          <a:r>
            <a:rPr lang="en-US" sz="1800" b="0" kern="1200" dirty="0"/>
            <a:t>on-deck measure.</a:t>
          </a:r>
          <a:endParaRPr lang="en-US" sz="1800" b="1" kern="1200" dirty="0"/>
        </a:p>
        <a:p>
          <a:pPr marL="171450" lvl="1" indent="-171450" algn="l" defTabSz="800100">
            <a:lnSpc>
              <a:spcPct val="90000"/>
            </a:lnSpc>
            <a:spcBef>
              <a:spcPct val="0"/>
            </a:spcBef>
            <a:spcAft>
              <a:spcPct val="15000"/>
            </a:spcAft>
            <a:buChar char="•"/>
          </a:pPr>
          <a:r>
            <a:rPr lang="en-US" sz="1800" b="1" kern="1200" dirty="0"/>
            <a:t>IET</a:t>
          </a:r>
          <a:r>
            <a:rPr lang="en-US" sz="1800" b="0" kern="1200" dirty="0"/>
            <a:t> remains in the Menu Set </a:t>
          </a:r>
          <a:endParaRPr lang="en-US" sz="1800" b="1" kern="1200" dirty="0"/>
        </a:p>
      </dsp:txBody>
      <dsp:txXfrm rot="-5400000">
        <a:off x="895660" y="51077"/>
        <a:ext cx="7140940" cy="750486"/>
      </dsp:txXfrm>
    </dsp:sp>
    <dsp:sp modelId="{377D0830-449B-4B19-9146-F4A4E49F53AD}">
      <dsp:nvSpPr>
        <dsp:cNvPr id="0" name=""/>
        <dsp:cNvSpPr/>
      </dsp:nvSpPr>
      <dsp:spPr>
        <a:xfrm rot="5400000">
          <a:off x="-191927" y="1344211"/>
          <a:ext cx="1279514" cy="895660"/>
        </a:xfrm>
        <a:prstGeom prst="chevron">
          <a:avLst/>
        </a:prstGeom>
        <a:solidFill>
          <a:schemeClr val="accent2">
            <a:shade val="80000"/>
            <a:hueOff val="247768"/>
            <a:satOff val="-25000"/>
            <a:lumOff val="13205"/>
            <a:alphaOff val="0"/>
          </a:schemeClr>
        </a:solidFill>
        <a:ln w="25400" cap="flat" cmpd="sng" algn="ctr">
          <a:solidFill>
            <a:schemeClr val="accent2">
              <a:shade val="80000"/>
              <a:hueOff val="247768"/>
              <a:satOff val="-25000"/>
              <a:lumOff val="1320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a:t>2023</a:t>
          </a:r>
          <a:endParaRPr lang="en-US" sz="1800" b="0" kern="1200"/>
        </a:p>
      </dsp:txBody>
      <dsp:txXfrm rot="-5400000">
        <a:off x="0" y="1600114"/>
        <a:ext cx="895660" cy="383854"/>
      </dsp:txXfrm>
    </dsp:sp>
    <dsp:sp modelId="{0682D041-0C60-4441-9BBE-CE4EB55EFDCA}">
      <dsp:nvSpPr>
        <dsp:cNvPr id="0" name=""/>
        <dsp:cNvSpPr/>
      </dsp:nvSpPr>
      <dsp:spPr>
        <a:xfrm rot="5400000">
          <a:off x="4070587" y="-2022643"/>
          <a:ext cx="831684" cy="7181539"/>
        </a:xfrm>
        <a:prstGeom prst="round2SameRect">
          <a:avLst/>
        </a:prstGeom>
        <a:solidFill>
          <a:schemeClr val="lt1">
            <a:alpha val="90000"/>
            <a:hueOff val="0"/>
            <a:satOff val="0"/>
            <a:lumOff val="0"/>
            <a:alphaOff val="0"/>
          </a:schemeClr>
        </a:solidFill>
        <a:ln w="25400" cap="flat" cmpd="sng" algn="ctr">
          <a:solidFill>
            <a:schemeClr val="accent2">
              <a:shade val="80000"/>
              <a:hueOff val="247768"/>
              <a:satOff val="-25000"/>
              <a:lumOff val="1320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b="1" kern="1200" dirty="0"/>
            <a:t>Substance Use Assessment in Primary Care </a:t>
          </a:r>
          <a:r>
            <a:rPr lang="en-US" sz="1800" kern="1200" dirty="0"/>
            <a:t>becomes a </a:t>
          </a:r>
          <a:r>
            <a:rPr lang="en-US" sz="1800" b="0" kern="1200" dirty="0"/>
            <a:t>Core Set reporting-only measure.</a:t>
          </a:r>
        </a:p>
        <a:p>
          <a:pPr marL="171450" lvl="1" indent="-171450" algn="l" defTabSz="800100">
            <a:lnSpc>
              <a:spcPct val="90000"/>
            </a:lnSpc>
            <a:spcBef>
              <a:spcPct val="0"/>
            </a:spcBef>
            <a:spcAft>
              <a:spcPct val="15000"/>
            </a:spcAft>
            <a:buChar char="•"/>
          </a:pPr>
          <a:r>
            <a:rPr lang="en-US" sz="1800" b="1" kern="1200" dirty="0"/>
            <a:t>IET</a:t>
          </a:r>
          <a:r>
            <a:rPr lang="en-US" sz="1800" b="0" kern="1200" dirty="0"/>
            <a:t> remains in the Menu Set.   </a:t>
          </a:r>
        </a:p>
      </dsp:txBody>
      <dsp:txXfrm rot="-5400000">
        <a:off x="895660" y="1192883"/>
        <a:ext cx="7140940" cy="750486"/>
      </dsp:txXfrm>
    </dsp:sp>
    <dsp:sp modelId="{31D81FA0-FB8C-43B6-8C8F-0A541293DE24}">
      <dsp:nvSpPr>
        <dsp:cNvPr id="0" name=""/>
        <dsp:cNvSpPr/>
      </dsp:nvSpPr>
      <dsp:spPr>
        <a:xfrm rot="5400000">
          <a:off x="-191927" y="2482484"/>
          <a:ext cx="1279514" cy="895660"/>
        </a:xfrm>
        <a:prstGeom prst="chevron">
          <a:avLst/>
        </a:prstGeom>
        <a:solidFill>
          <a:schemeClr val="accent2">
            <a:shade val="80000"/>
            <a:hueOff val="495536"/>
            <a:satOff val="-50001"/>
            <a:lumOff val="26409"/>
            <a:alphaOff val="0"/>
          </a:schemeClr>
        </a:solidFill>
        <a:ln w="25400" cap="flat" cmpd="sng" algn="ctr">
          <a:solidFill>
            <a:schemeClr val="accent2">
              <a:shade val="80000"/>
              <a:hueOff val="495536"/>
              <a:satOff val="-50001"/>
              <a:lumOff val="2640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a:t>2024</a:t>
          </a:r>
          <a:endParaRPr lang="en-US" sz="1800" kern="1200"/>
        </a:p>
      </dsp:txBody>
      <dsp:txXfrm rot="-5400000">
        <a:off x="0" y="2738387"/>
        <a:ext cx="895660" cy="383854"/>
      </dsp:txXfrm>
    </dsp:sp>
    <dsp:sp modelId="{F2758F95-0A9D-4E5F-9C19-0022C08E3C07}">
      <dsp:nvSpPr>
        <dsp:cNvPr id="0" name=""/>
        <dsp:cNvSpPr/>
      </dsp:nvSpPr>
      <dsp:spPr>
        <a:xfrm rot="5400000">
          <a:off x="3942637" y="-752886"/>
          <a:ext cx="1087585" cy="7181539"/>
        </a:xfrm>
        <a:prstGeom prst="round2SameRect">
          <a:avLst/>
        </a:prstGeom>
        <a:solidFill>
          <a:schemeClr val="lt1">
            <a:alpha val="90000"/>
            <a:hueOff val="0"/>
            <a:satOff val="0"/>
            <a:lumOff val="0"/>
            <a:alphaOff val="0"/>
          </a:schemeClr>
        </a:solidFill>
        <a:ln w="25400" cap="flat" cmpd="sng" algn="ctr">
          <a:solidFill>
            <a:schemeClr val="accent2">
              <a:shade val="80000"/>
              <a:hueOff val="495536"/>
              <a:satOff val="-50001"/>
              <a:lumOff val="2640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b="1" kern="1200" dirty="0"/>
            <a:t>Substance Use Assessment in Primary Care</a:t>
          </a:r>
          <a:r>
            <a:rPr lang="en-US" sz="1800" kern="1200" dirty="0"/>
            <a:t> becomes a Core Set pay-for-performance measure. </a:t>
          </a:r>
        </a:p>
        <a:p>
          <a:pPr marL="171450" lvl="1" indent="-171450" algn="l" defTabSz="800100">
            <a:lnSpc>
              <a:spcPct val="90000"/>
            </a:lnSpc>
            <a:spcBef>
              <a:spcPct val="0"/>
            </a:spcBef>
            <a:spcAft>
              <a:spcPct val="15000"/>
            </a:spcAft>
            <a:buChar char="•"/>
          </a:pPr>
          <a:r>
            <a:rPr lang="en-US" sz="1800" b="1" kern="1200" dirty="0"/>
            <a:t>IET</a:t>
          </a:r>
          <a:r>
            <a:rPr lang="en-US" sz="1800" kern="1200" dirty="0"/>
            <a:t> drops from the Menu Set if NCQA has not yet demonstrated validity.</a:t>
          </a:r>
        </a:p>
      </dsp:txBody>
      <dsp:txXfrm rot="-5400000">
        <a:off x="895660" y="2347183"/>
        <a:ext cx="7128447" cy="981401"/>
      </dsp:txXfrm>
    </dsp:sp>
    <dsp:sp modelId="{EB71BDC0-56DB-478B-8FC1-75A0FB0AE4C5}">
      <dsp:nvSpPr>
        <dsp:cNvPr id="0" name=""/>
        <dsp:cNvSpPr/>
      </dsp:nvSpPr>
      <dsp:spPr>
        <a:xfrm rot="5400000">
          <a:off x="-191927" y="3744472"/>
          <a:ext cx="1279514" cy="895660"/>
        </a:xfrm>
        <a:prstGeom prst="chevron">
          <a:avLst/>
        </a:prstGeom>
        <a:solidFill>
          <a:schemeClr val="accent2">
            <a:shade val="80000"/>
            <a:hueOff val="743304"/>
            <a:satOff val="-75001"/>
            <a:lumOff val="39614"/>
            <a:alphaOff val="0"/>
          </a:schemeClr>
        </a:solidFill>
        <a:ln w="25400" cap="flat" cmpd="sng" algn="ctr">
          <a:solidFill>
            <a:schemeClr val="accent2">
              <a:shade val="80000"/>
              <a:hueOff val="743304"/>
              <a:satOff val="-75001"/>
              <a:lumOff val="3961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a:t>2025</a:t>
          </a:r>
        </a:p>
      </dsp:txBody>
      <dsp:txXfrm rot="-5400000">
        <a:off x="0" y="4000375"/>
        <a:ext cx="895660" cy="383854"/>
      </dsp:txXfrm>
    </dsp:sp>
    <dsp:sp modelId="{2D0DDE45-1522-487B-823D-96A43F5E2C7B}">
      <dsp:nvSpPr>
        <dsp:cNvPr id="0" name=""/>
        <dsp:cNvSpPr/>
      </dsp:nvSpPr>
      <dsp:spPr>
        <a:xfrm rot="5400000">
          <a:off x="3947182" y="512324"/>
          <a:ext cx="1078495" cy="7181539"/>
        </a:xfrm>
        <a:prstGeom prst="round2SameRect">
          <a:avLst/>
        </a:prstGeom>
        <a:solidFill>
          <a:schemeClr val="lt1">
            <a:alpha val="90000"/>
            <a:hueOff val="0"/>
            <a:satOff val="0"/>
            <a:lumOff val="0"/>
            <a:alphaOff val="0"/>
          </a:schemeClr>
        </a:solidFill>
        <a:ln w="25400" cap="flat" cmpd="sng" algn="ctr">
          <a:solidFill>
            <a:schemeClr val="accent2">
              <a:shade val="80000"/>
              <a:hueOff val="743304"/>
              <a:satOff val="-75001"/>
              <a:lumOff val="3961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A future measure that </a:t>
          </a:r>
          <a:r>
            <a:rPr lang="en-US" sz="1800" b="0" kern="1200" dirty="0"/>
            <a:t>incorporates </a:t>
          </a:r>
          <a:r>
            <a:rPr lang="en-US" sz="1800" b="1" kern="1200" dirty="0"/>
            <a:t>follow-up </a:t>
          </a:r>
          <a:r>
            <a:rPr lang="en-US" sz="1800" b="0" kern="1200" dirty="0"/>
            <a:t>and</a:t>
          </a:r>
          <a:r>
            <a:rPr lang="en-US" sz="1800" b="1" kern="1200" dirty="0"/>
            <a:t> adults and adolescents </a:t>
          </a:r>
          <a:r>
            <a:rPr lang="en-US" sz="1800" b="0" kern="1200" dirty="0"/>
            <a:t>is introduced as an on deck or Menu Measure.</a:t>
          </a:r>
        </a:p>
      </dsp:txBody>
      <dsp:txXfrm rot="-5400000">
        <a:off x="895660" y="3616494"/>
        <a:ext cx="7128891" cy="973199"/>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6/2/2021</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dirty="0"/>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6/2/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dirty="0"/>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a:t>
            </a:fld>
            <a:endParaRPr lang="en-US" dirty="0"/>
          </a:p>
        </p:txBody>
      </p:sp>
    </p:spTree>
    <p:extLst>
      <p:ext uri="{BB962C8B-B14F-4D97-AF65-F5344CB8AC3E}">
        <p14:creationId xmlns:p14="http://schemas.microsoft.com/office/powerpoint/2010/main" val="1936635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20</a:t>
            </a:fld>
            <a:endParaRPr lang="en-US"/>
          </a:p>
        </p:txBody>
      </p:sp>
    </p:spTree>
    <p:extLst>
      <p:ext uri="{BB962C8B-B14F-4D97-AF65-F5344CB8AC3E}">
        <p14:creationId xmlns:p14="http://schemas.microsoft.com/office/powerpoint/2010/main" val="2203456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2</a:t>
            </a:fld>
            <a:endParaRPr lang="en-US"/>
          </a:p>
        </p:txBody>
      </p:sp>
    </p:spTree>
    <p:extLst>
      <p:ext uri="{BB962C8B-B14F-4D97-AF65-F5344CB8AC3E}">
        <p14:creationId xmlns:p14="http://schemas.microsoft.com/office/powerpoint/2010/main" val="2242248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3</a:t>
            </a:fld>
            <a:endParaRPr lang="en-US"/>
          </a:p>
        </p:txBody>
      </p:sp>
    </p:spTree>
    <p:extLst>
      <p:ext uri="{BB962C8B-B14F-4D97-AF65-F5344CB8AC3E}">
        <p14:creationId xmlns:p14="http://schemas.microsoft.com/office/powerpoint/2010/main" val="617027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4</a:t>
            </a:fld>
            <a:endParaRPr lang="en-US" dirty="0"/>
          </a:p>
        </p:txBody>
      </p:sp>
    </p:spTree>
    <p:extLst>
      <p:ext uri="{BB962C8B-B14F-4D97-AF65-F5344CB8AC3E}">
        <p14:creationId xmlns:p14="http://schemas.microsoft.com/office/powerpoint/2010/main" val="3125781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8</a:t>
            </a:fld>
            <a:endParaRPr lang="en-US"/>
          </a:p>
        </p:txBody>
      </p:sp>
    </p:spTree>
    <p:extLst>
      <p:ext uri="{BB962C8B-B14F-4D97-AF65-F5344CB8AC3E}">
        <p14:creationId xmlns:p14="http://schemas.microsoft.com/office/powerpoint/2010/main" val="3882590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0</a:t>
            </a:fld>
            <a:endParaRPr lang="en-US"/>
          </a:p>
        </p:txBody>
      </p:sp>
    </p:spTree>
    <p:extLst>
      <p:ext uri="{BB962C8B-B14F-4D97-AF65-F5344CB8AC3E}">
        <p14:creationId xmlns:p14="http://schemas.microsoft.com/office/powerpoint/2010/main" val="633633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11</a:t>
            </a:fld>
            <a:endParaRPr lang="en-US"/>
          </a:p>
        </p:txBody>
      </p:sp>
    </p:spTree>
    <p:extLst>
      <p:ext uri="{BB962C8B-B14F-4D97-AF65-F5344CB8AC3E}">
        <p14:creationId xmlns:p14="http://schemas.microsoft.com/office/powerpoint/2010/main" val="31924472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13</a:t>
            </a:fld>
            <a:endParaRPr lang="en-US"/>
          </a:p>
        </p:txBody>
      </p:sp>
    </p:spTree>
    <p:extLst>
      <p:ext uri="{BB962C8B-B14F-4D97-AF65-F5344CB8AC3E}">
        <p14:creationId xmlns:p14="http://schemas.microsoft.com/office/powerpoint/2010/main" val="7449292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18</a:t>
            </a:fld>
            <a:endParaRPr lang="en-US"/>
          </a:p>
        </p:txBody>
      </p:sp>
    </p:spTree>
    <p:extLst>
      <p:ext uri="{BB962C8B-B14F-4D97-AF65-F5344CB8AC3E}">
        <p14:creationId xmlns:p14="http://schemas.microsoft.com/office/powerpoint/2010/main" val="18121578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6.pn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a:t>Click to edit Master title style</a:t>
            </a:r>
          </a:p>
        </p:txBody>
      </p:sp>
      <p:sp>
        <p:nvSpPr>
          <p:cNvPr id="6" name="Content Placeholder 7"/>
          <p:cNvSpPr>
            <a:spLocks noGrp="1"/>
          </p:cNvSpPr>
          <p:nvPr>
            <p:ph sz="half" idx="1"/>
          </p:nvPr>
        </p:nvSpPr>
        <p:spPr>
          <a:xfrm>
            <a:off x="533400" y="1371600"/>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a:t>Edit Master text styles</a:t>
            </a:r>
          </a:p>
          <a:p>
            <a:pPr lvl="1"/>
            <a:r>
              <a:rPr lang="en-US"/>
              <a:t>Second level</a:t>
            </a:r>
          </a:p>
        </p:txBody>
      </p:sp>
      <p:sp>
        <p:nvSpPr>
          <p:cNvPr id="4" name="TextBox 3"/>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dirty="0"/>
              <a:t>Confidential WORKING draft – policy IN DEVELOPMENT</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dirty="0">
                <a:solidFill>
                  <a:srgbClr val="F8F8F8"/>
                </a:solidFill>
              </a:rPr>
              <a:t>Commonwealth of Massachusetts</a:t>
            </a:r>
            <a:br>
              <a:rPr lang="en-US" altLang="en-US" sz="2800" b="1" dirty="0">
                <a:solidFill>
                  <a:srgbClr val="F8F8F8"/>
                </a:solidFill>
              </a:rPr>
            </a:br>
            <a:r>
              <a:rPr lang="en-US" altLang="en-US" sz="1900" b="1" dirty="0">
                <a:solidFill>
                  <a:srgbClr val="F8F8F8"/>
                </a:solidFill>
              </a:rPr>
              <a:t>Executive Office of Health and Human Services</a:t>
            </a:r>
            <a:br>
              <a:rPr lang="en-US" altLang="en-US" sz="1900" b="1" dirty="0">
                <a:solidFill>
                  <a:srgbClr val="F8F8F8"/>
                </a:solidFill>
              </a:rPr>
            </a:br>
            <a:br>
              <a:rPr lang="en-US" altLang="en-US" sz="1900" b="1" dirty="0">
                <a:solidFill>
                  <a:srgbClr val="F8F8F8"/>
                </a:solidFill>
              </a:rPr>
            </a:br>
            <a:endParaRPr lang="en-US" sz="2800" b="1" dirty="0">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393489148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8696606"/>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ate</a:t>
              </a:r>
            </a:p>
          </p:txBody>
        </p:sp>
      </p:grpSp>
      <p:sp>
        <p:nvSpPr>
          <p:cNvPr id="13314" name="Rectangle 1026"/>
          <p:cNvSpPr>
            <a:spLocks noGrp="1" noChangeArrowheads="1"/>
          </p:cNvSpPr>
          <p:nvPr>
            <p:ph type="ctrTitle"/>
          </p:nvPr>
        </p:nvSpPr>
        <p:spPr bwMode="auto">
          <a:xfrm>
            <a:off x="2693840" y="2648285"/>
            <a:ext cx="5539245"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40" y="3770660"/>
            <a:ext cx="5539245"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4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067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0137329"/>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033018"/>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975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2826375"/>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4" name="Holder 2"/>
          <p:cNvSpPr>
            <a:spLocks noGrp="1"/>
          </p:cNvSpPr>
          <p:nvPr>
            <p:ph type="title"/>
          </p:nvPr>
        </p:nvSpPr>
        <p:spPr>
          <a:xfrm>
            <a:off x="259090" y="252471"/>
            <a:ext cx="8053675" cy="298327"/>
          </a:xfrm>
        </p:spPr>
        <p:txBody>
          <a:bodyPr lIns="0" tIns="0" rIns="0" bIns="0"/>
          <a:lstStyle/>
          <a:p>
            <a:endParaRPr/>
          </a:p>
        </p:txBody>
      </p:sp>
    </p:spTree>
    <p:extLst>
      <p:ext uri="{BB962C8B-B14F-4D97-AF65-F5344CB8AC3E}">
        <p14:creationId xmlns:p14="http://schemas.microsoft.com/office/powerpoint/2010/main" val="2032550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91901367"/>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259081" y="908025"/>
            <a:ext cx="80772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15486238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slideLayout" Target="../slideLayouts/slideLayout5.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image" Target="../media/image6.png"/><Relationship Id="rId2" Type="http://schemas.openxmlformats.org/officeDocument/2006/relationships/slideLayout" Target="../slideLayouts/slideLayout4.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8.xml"/><Relationship Id="rId24" Type="http://schemas.openxmlformats.org/officeDocument/2006/relationships/image" Target="../media/image5.emf"/><Relationship Id="rId5" Type="http://schemas.openxmlformats.org/officeDocument/2006/relationships/slideLayout" Target="../slideLayouts/slideLayout7.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slideLayout" Target="../slideLayouts/slideLayout6.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6"/>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1030" name="Picture 6" descr="best ver2b seal"/>
          <p:cNvPicPr>
            <a:picLocks noChangeAspect="1" noChangeArrowheads="1"/>
          </p:cNvPicPr>
          <p:nvPr/>
        </p:nvPicPr>
        <p:blipFill>
          <a:blip r:embed="rId7">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613525"/>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
        <p:nvSpPr>
          <p:cNvPr id="3198987" name="AcnSubjectTitle_ID_3198987" hidden="1"/>
          <p:cNvSpPr txBox="1">
            <a:spLocks noChangeArrowheads="1"/>
          </p:cNvSpPr>
          <p:nvPr>
            <p:custDataLst>
              <p:tags r:id="rId4"/>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5"/>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4" r:id="rId1"/>
    <p:sldLayoutId id="2147483672" r:id="rId2"/>
  </p:sldLayoutIdLst>
  <p:transition/>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37875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2" y="6565686"/>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grpSp>
      <p:sp>
        <p:nvSpPr>
          <p:cNvPr id="1036" name="Rectangle 286"/>
          <p:cNvSpPr>
            <a:spLocks noGrp="1" noChangeArrowheads="1"/>
          </p:cNvSpPr>
          <p:nvPr>
            <p:ph type="body" idx="1"/>
          </p:nvPr>
        </p:nvSpPr>
        <p:spPr bwMode="auto">
          <a:xfrm>
            <a:off x="1482160" y="1990681"/>
            <a:ext cx="4389768"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59090" y="25247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9470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dirty="0">
                <a:solidFill>
                  <a:srgbClr val="808080"/>
                </a:solidFill>
              </a:rPr>
              <a:t>TRACKER</a:t>
            </a:r>
          </a:p>
        </p:txBody>
      </p:sp>
      <p:sp>
        <p:nvSpPr>
          <p:cNvPr id="11" name="McK 3. Unit of measure" hidden="1"/>
          <p:cNvSpPr txBox="1">
            <a:spLocks noChangeArrowheads="1"/>
          </p:cNvSpPr>
          <p:nvPr/>
        </p:nvSpPr>
        <p:spPr bwMode="auto">
          <a:xfrm>
            <a:off x="174944" y="542633"/>
            <a:ext cx="805367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dirty="0">
                <a:solidFill>
                  <a:srgbClr val="808080"/>
                </a:solidFill>
                <a:latin typeface="Arial"/>
              </a:rPr>
              <a:t>Unit of measure</a:t>
            </a:r>
          </a:p>
        </p:txBody>
      </p:sp>
      <p:grpSp>
        <p:nvGrpSpPr>
          <p:cNvPr id="12" name="McK Slide Elements" hidden="1"/>
          <p:cNvGrpSpPr>
            <a:grpSpLocks/>
          </p:cNvGrpSpPr>
          <p:nvPr/>
        </p:nvGrpSpPr>
        <p:grpSpPr bwMode="auto">
          <a:xfrm>
            <a:off x="174965" y="6083194"/>
            <a:ext cx="8799129"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dirty="0">
                  <a:solidFill>
                    <a:srgbClr val="000000"/>
                  </a:solidFill>
                </a:rPr>
                <a:t>SOURCE: Source</a:t>
              </a:r>
            </a:p>
          </p:txBody>
        </p:sp>
      </p:grpSp>
      <p:grpSp>
        <p:nvGrpSpPr>
          <p:cNvPr id="15" name="ACET" hidden="1"/>
          <p:cNvGrpSpPr>
            <a:grpSpLocks/>
          </p:cNvGrpSpPr>
          <p:nvPr/>
        </p:nvGrpSpPr>
        <p:grpSpPr bwMode="auto">
          <a:xfrm>
            <a:off x="1482165"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dirty="0">
                  <a:solidFill>
                    <a:srgbClr val="000000"/>
                  </a:solidFill>
                </a:rPr>
                <a:t>Title</a:t>
              </a:r>
            </a:p>
            <a:p>
              <a:pPr fontAlgn="base">
                <a:spcBef>
                  <a:spcPct val="0"/>
                </a:spcBef>
                <a:spcAft>
                  <a:spcPct val="0"/>
                </a:spcAft>
              </a:pPr>
              <a:r>
                <a:rPr lang="en-US" sz="1632" dirty="0">
                  <a:solidFill>
                    <a:srgbClr val="808080"/>
                  </a:solidFill>
                </a:rPr>
                <a:t>Unit of measure</a:t>
              </a:r>
            </a:p>
          </p:txBody>
        </p:sp>
      </p:grpSp>
      <p:grpSp>
        <p:nvGrpSpPr>
          <p:cNvPr id="63" name="LegendBoxes" hidden="1"/>
          <p:cNvGrpSpPr>
            <a:grpSpLocks/>
          </p:cNvGrpSpPr>
          <p:nvPr/>
        </p:nvGrpSpPr>
        <p:grpSpPr bwMode="auto">
          <a:xfrm>
            <a:off x="7449477" y="275481"/>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72" name="LegendLines" hidden="1"/>
          <p:cNvGrpSpPr>
            <a:grpSpLocks/>
          </p:cNvGrpSpPr>
          <p:nvPr/>
        </p:nvGrpSpPr>
        <p:grpSpPr bwMode="auto">
          <a:xfrm>
            <a:off x="7135270" y="275459"/>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grpSp>
      <p:grpSp>
        <p:nvGrpSpPr>
          <p:cNvPr id="79" name="McKSticker" hidden="1"/>
          <p:cNvGrpSpPr/>
          <p:nvPr/>
        </p:nvGrpSpPr>
        <p:grpSpPr bwMode="auto">
          <a:xfrm>
            <a:off x="7118798"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dirty="0">
                  <a:solidFill>
                    <a:srgbClr val="808080"/>
                  </a:solidFill>
                </a:rPr>
                <a:t>PRELIMINARY</a:t>
              </a:r>
            </a:p>
          </p:txBody>
        </p:sp>
        <p:cxnSp>
          <p:nvCxnSpPr>
            <p:cNvPr id="81" name="AutoShape 31"/>
            <p:cNvCxnSpPr>
              <a:cxnSpLocks noChangeShapeType="1"/>
              <a:stCxn id="80" idx="2"/>
              <a:endCxn id="80"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57161" cy="1333054"/>
            <a:chOff x="6655594" y="273840"/>
            <a:chExt cx="840048"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sp>
        <p:nvSpPr>
          <p:cNvPr id="104" name="Slide Number"/>
          <p:cNvSpPr txBox="1">
            <a:spLocks/>
          </p:cNvSpPr>
          <p:nvPr/>
        </p:nvSpPr>
        <p:spPr bwMode="auto">
          <a:xfrm>
            <a:off x="8807126" y="6631766"/>
            <a:ext cx="161931" cy="16015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A200752F-0FC0-452E-8D30-39C4B28B39FF}"/>
              </a:ext>
            </a:extLst>
          </p:cNvPr>
          <p:cNvSpPr txBox="1"/>
          <p:nvPr userDrawn="1"/>
        </p:nvSpPr>
        <p:spPr>
          <a:xfrm>
            <a:off x="6092137" y="6385458"/>
            <a:ext cx="311649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rgbClr val="000000"/>
                </a:solidFill>
                <a:latin typeface="Arial"/>
              </a:rPr>
              <a:t>* Confidential – for policy development purposes only   |</a:t>
            </a:r>
          </a:p>
        </p:txBody>
      </p:sp>
    </p:spTree>
    <p:extLst>
      <p:ext uri="{BB962C8B-B14F-4D97-AF65-F5344CB8AC3E}">
        <p14:creationId xmlns:p14="http://schemas.microsoft.com/office/powerpoint/2010/main" val="257185683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p:txBody>
          <a:bodyPr>
            <a:normAutofit/>
          </a:bodyPr>
          <a:lstStyle/>
          <a:p>
            <a:pPr>
              <a:buNone/>
            </a:pPr>
            <a:r>
              <a:rPr lang="en-US" b="1" cap="all" dirty="0"/>
              <a:t>EOHHS Quality Measure alignment taskforce </a:t>
            </a:r>
          </a:p>
          <a:p>
            <a:endParaRPr lang="en-US" dirty="0"/>
          </a:p>
        </p:txBody>
      </p:sp>
      <p:sp>
        <p:nvSpPr>
          <p:cNvPr id="3" name="Text Placeholder 1"/>
          <p:cNvSpPr txBox="1">
            <a:spLocks/>
          </p:cNvSpPr>
          <p:nvPr/>
        </p:nvSpPr>
        <p:spPr>
          <a:xfrm>
            <a:off x="4515416" y="5943600"/>
            <a:ext cx="3923168" cy="533401"/>
          </a:xfrm>
          <a:prstGeom prst="rect">
            <a:avLst/>
          </a:prstGeom>
        </p:spPr>
        <p:txBody>
          <a:bodyPr>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lgn="ctr">
              <a:buNone/>
            </a:pPr>
            <a:r>
              <a:rPr lang="en-US" sz="1600" dirty="0"/>
              <a:t>June 21, 2021</a:t>
            </a:r>
          </a:p>
        </p:txBody>
      </p:sp>
    </p:spTree>
    <p:extLst>
      <p:ext uri="{BB962C8B-B14F-4D97-AF65-F5344CB8AC3E}">
        <p14:creationId xmlns:p14="http://schemas.microsoft.com/office/powerpoint/2010/main" val="12102508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Implementing </a:t>
            </a:r>
            <a:r>
              <a:rPr lang="en-US" sz="2400" b="1" dirty="0"/>
              <a:t>Substance Use Assessment in Primary Care</a:t>
            </a:r>
            <a:r>
              <a:rPr lang="en-US" sz="2400" dirty="0"/>
              <a:t> </a:t>
            </a:r>
            <a:endParaRPr lang="en-US" dirty="0"/>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309955"/>
            <a:ext cx="8077200" cy="4556234"/>
          </a:xfrm>
        </p:spPr>
        <p:txBody>
          <a:bodyPr/>
          <a:lstStyle/>
          <a:p>
            <a:r>
              <a:rPr lang="en-US" b="0" dirty="0">
                <a:cs typeface="Times New Roman" panose="02020603050405020304" pitchFamily="18" charset="0"/>
              </a:rPr>
              <a:t>Taskforce staff will create a proposal for outreach and education regarding how to transition Substance Use Treatment In Primary Care from an On Deck Measure to a Core Measure, and request that health plans and MassHealth distribute these recommendations.  Preparation will include:  </a:t>
            </a:r>
          </a:p>
          <a:p>
            <a:pPr marL="803275" lvl="1" indent="-457200">
              <a:spcAft>
                <a:spcPts val="600"/>
              </a:spcAft>
              <a:buFont typeface="+mj-lt"/>
              <a:buAutoNum type="arabicPeriod"/>
            </a:pPr>
            <a:r>
              <a:rPr lang="en-US" b="0" dirty="0">
                <a:cs typeface="Times New Roman" panose="02020603050405020304" pitchFamily="18" charset="0"/>
              </a:rPr>
              <a:t>highlighting this measure in an email from Lauren Peters to the Taskforce distribution list regarding the 2022 Measure Set;</a:t>
            </a:r>
          </a:p>
          <a:p>
            <a:pPr marL="803275" lvl="1" indent="-457200">
              <a:spcAft>
                <a:spcPts val="600"/>
              </a:spcAft>
              <a:buFont typeface="+mj-lt"/>
              <a:buAutoNum type="arabicPeriod"/>
            </a:pPr>
            <a:r>
              <a:rPr lang="en-US" b="0" dirty="0">
                <a:cs typeface="Times New Roman" panose="02020603050405020304" pitchFamily="18" charset="0"/>
              </a:rPr>
              <a:t>utilizing a stakeholder work group to develop a guidance document for provider education; </a:t>
            </a:r>
          </a:p>
          <a:p>
            <a:pPr marL="803275" lvl="1" indent="-457200">
              <a:spcAft>
                <a:spcPts val="600"/>
              </a:spcAft>
              <a:buFont typeface="+mj-lt"/>
              <a:buAutoNum type="arabicPeriod"/>
            </a:pPr>
            <a:r>
              <a:rPr lang="en-US" b="0" dirty="0">
                <a:cs typeface="Times New Roman" panose="02020603050405020304" pitchFamily="18" charset="0"/>
              </a:rPr>
              <a:t>requesting that payers and the Massachusetts Medical Society create messaging around the new measure and utilize the  guidance document, and</a:t>
            </a:r>
          </a:p>
          <a:p>
            <a:pPr marL="803275" lvl="1" indent="-457200">
              <a:spcAft>
                <a:spcPts val="600"/>
              </a:spcAft>
              <a:buFont typeface="+mj-lt"/>
              <a:buAutoNum type="arabicPeriod"/>
            </a:pPr>
            <a:r>
              <a:rPr lang="en-US" b="0" dirty="0">
                <a:cs typeface="Times New Roman" panose="02020603050405020304" pitchFamily="18" charset="0"/>
              </a:rPr>
              <a:t>setting a timeline to guide implementation. </a:t>
            </a:r>
          </a:p>
        </p:txBody>
      </p:sp>
      <p:sp>
        <p:nvSpPr>
          <p:cNvPr id="4" name="TextBox 3">
            <a:extLst>
              <a:ext uri="{FF2B5EF4-FFF2-40B4-BE49-F238E27FC236}">
                <a16:creationId xmlns:a16="http://schemas.microsoft.com/office/drawing/2014/main" id="{A89EDB0C-3D2E-4B22-BE55-A96C9B1B967D}"/>
              </a:ext>
            </a:extLst>
          </p:cNvPr>
          <p:cNvSpPr txBox="1"/>
          <p:nvPr/>
        </p:nvSpPr>
        <p:spPr>
          <a:xfrm>
            <a:off x="736600" y="6058564"/>
            <a:ext cx="7321235" cy="400110"/>
          </a:xfrm>
          <a:prstGeom prst="rect">
            <a:avLst/>
          </a:prstGeom>
          <a:noFill/>
        </p:spPr>
        <p:txBody>
          <a:bodyPr wrap="none" rtlCol="0">
            <a:spAutoFit/>
          </a:bodyPr>
          <a:lstStyle/>
          <a:p>
            <a:r>
              <a:rPr lang="en-US" sz="2000" b="1" dirty="0">
                <a:latin typeface="Book Antiqua" panose="02040602050305030304" pitchFamily="18" charset="0"/>
              </a:rPr>
              <a:t>Who would like to volunteer for a work group planning call?</a:t>
            </a:r>
          </a:p>
        </p:txBody>
      </p:sp>
    </p:spTree>
    <p:extLst>
      <p:ext uri="{BB962C8B-B14F-4D97-AF65-F5344CB8AC3E}">
        <p14:creationId xmlns:p14="http://schemas.microsoft.com/office/powerpoint/2010/main" val="16957588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Finalizing the 2022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Feedback from Secretary </a:t>
            </a:r>
            <a:r>
              <a:rPr lang="en-US" b="0" dirty="0" err="1">
                <a:ea typeface="Times New Roman" panose="02020603050405020304" pitchFamily="18" charset="0"/>
                <a:cs typeface="Times New Roman" panose="02020603050405020304" pitchFamily="18" charset="0"/>
              </a:rPr>
              <a:t>Sudders</a:t>
            </a:r>
            <a:r>
              <a:rPr lang="en-US" b="0" dirty="0">
                <a:ea typeface="Times New Roman" panose="02020603050405020304" pitchFamily="18" charset="0"/>
                <a:cs typeface="Times New Roman" panose="02020603050405020304" pitchFamily="18" charset="0"/>
              </a:rPr>
              <a: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Review the 2022 Implementation Parameters </a:t>
            </a:r>
          </a:p>
          <a:p>
            <a:pPr marL="644525" lvl="1" indent="-457200">
              <a:buFont typeface="+mj-lt"/>
              <a:buAutoNum type="alphaLcPeriod"/>
            </a:pPr>
            <a:r>
              <a:rPr lang="en-US" b="0" dirty="0"/>
              <a:t>Finalize specifications for the stratification measure </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Incorporate Substance Use Assessment in Primary Car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Proposal to modify the Annual Review timeline </a:t>
            </a:r>
            <a:endParaRPr lang="en-US" dirty="0"/>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policy proposals</a:t>
            </a:r>
            <a:endParaRPr lang="en-US" b="0" dirty="0">
              <a:ea typeface="Times New Roman" panose="02020603050405020304" pitchFamily="18" charset="0"/>
              <a:cs typeface="Times New Roman" panose="02020603050405020304" pitchFamily="18" charset="0"/>
            </a:endParaRP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Options for improving fidelity to the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Proposals raised during payer Quality Catalogue interviews</a:t>
            </a:r>
          </a:p>
          <a:p>
            <a:pPr marL="457200" indent="-457200">
              <a:buFont typeface="+mj-lt"/>
              <a:buAutoNum type="arabicPeriod"/>
            </a:pPr>
            <a:r>
              <a:rPr lang="en-US" sz="2000" dirty="0">
                <a:cs typeface="Times New Roman" panose="02020603050405020304" pitchFamily="18" charset="0"/>
              </a:rPr>
              <a:t>Consider a BCBSMA proposal to improve equity measurement</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3859306"/>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502732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Proposal for Modifying the Annual Review Timeline </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227761"/>
            <a:ext cx="8077200" cy="4700427"/>
          </a:xfrm>
        </p:spPr>
        <p:txBody>
          <a:bodyPr/>
          <a:lstStyle/>
          <a:p>
            <a:pPr marL="0" indent="0">
              <a:buNone/>
            </a:pPr>
            <a:endParaRPr lang="en-US" sz="200" b="0" dirty="0"/>
          </a:p>
          <a:p>
            <a:r>
              <a:rPr lang="en-US" b="0" dirty="0"/>
              <a:t>Prior to 2020, the Taskforce conducted its annual review of the Massachusetts Aligned Measure Set and finalized any recommended modifications to the measure set by 3/31 each year for the next calendar year.​</a:t>
            </a:r>
          </a:p>
          <a:p>
            <a:pPr lvl="1">
              <a:spcAft>
                <a:spcPts val="0"/>
              </a:spcAft>
            </a:pPr>
            <a:r>
              <a:rPr lang="en-US" b="0" dirty="0"/>
              <a:t>The timeline was extended in 2020 due to COVID-19-related Taskforce meeting cancellations.</a:t>
            </a:r>
          </a:p>
          <a:p>
            <a:pPr lvl="1">
              <a:spcAft>
                <a:spcPts val="1800"/>
              </a:spcAft>
            </a:pPr>
            <a:r>
              <a:rPr lang="en-US" b="0" dirty="0"/>
              <a:t>This year, the timeframe was extended to 5/31 for the same reason</a:t>
            </a:r>
            <a:r>
              <a:rPr lang="en-US" dirty="0"/>
              <a:t>.</a:t>
            </a:r>
          </a:p>
          <a:p>
            <a:pPr>
              <a:spcAft>
                <a:spcPts val="2400"/>
              </a:spcAft>
            </a:pPr>
            <a:r>
              <a:rPr lang="en-US" b="0" dirty="0"/>
              <a:t>EOHHS recommends permanently moving the Annual Review process timeline to end in May each year to afford the Taskforce more flexibility.</a:t>
            </a:r>
          </a:p>
          <a:p>
            <a:r>
              <a:rPr lang="en-US" dirty="0"/>
              <a:t>Are Taskforce members amenable to this change?</a:t>
            </a:r>
          </a:p>
        </p:txBody>
      </p:sp>
    </p:spTree>
    <p:extLst>
      <p:ext uri="{BB962C8B-B14F-4D97-AF65-F5344CB8AC3E}">
        <p14:creationId xmlns:p14="http://schemas.microsoft.com/office/powerpoint/2010/main" val="298780678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Finalizing the 2022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Feedback from Secretary </a:t>
            </a:r>
            <a:r>
              <a:rPr lang="en-US" b="0" dirty="0" err="1">
                <a:ea typeface="Times New Roman" panose="02020603050405020304" pitchFamily="18" charset="0"/>
                <a:cs typeface="Times New Roman" panose="02020603050405020304" pitchFamily="18" charset="0"/>
              </a:rPr>
              <a:t>Sudders</a:t>
            </a:r>
            <a:r>
              <a:rPr lang="en-US" b="0" dirty="0">
                <a:ea typeface="Times New Roman" panose="02020603050405020304" pitchFamily="18" charset="0"/>
                <a:cs typeface="Times New Roman" panose="02020603050405020304" pitchFamily="18" charset="0"/>
              </a:rPr>
              <a: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Review the 2022 Implementation Parameters </a:t>
            </a:r>
          </a:p>
          <a:p>
            <a:pPr marL="644525" lvl="1" indent="-457200">
              <a:buFont typeface="+mj-lt"/>
              <a:buAutoNum type="alphaLcPeriod"/>
            </a:pPr>
            <a:r>
              <a:rPr lang="en-US" b="0" dirty="0"/>
              <a:t>Finalize specifications for the stratification measure </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Incorporate Substance Use Assessment in Primary Car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Proposal to modify the Annual Review timeline </a:t>
            </a:r>
            <a:endParaRPr lang="en-US" dirty="0"/>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policy proposals</a:t>
            </a:r>
            <a:endParaRPr lang="en-US" b="0" dirty="0">
              <a:ea typeface="Times New Roman" panose="02020603050405020304" pitchFamily="18" charset="0"/>
              <a:cs typeface="Times New Roman" panose="02020603050405020304" pitchFamily="18" charset="0"/>
            </a:endParaRP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Options for improving fidelity to the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Proposals raised during payer Quality Catalogue interviews</a:t>
            </a:r>
          </a:p>
          <a:p>
            <a:pPr marL="457200" indent="-457200">
              <a:buFont typeface="+mj-lt"/>
              <a:buAutoNum type="arabicPeriod"/>
            </a:pPr>
            <a:r>
              <a:rPr lang="en-US" sz="2000" dirty="0">
                <a:cs typeface="Times New Roman" panose="02020603050405020304" pitchFamily="18" charset="0"/>
              </a:rPr>
              <a:t>Consider a BCBSMA proposal to improve equity measurement</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4343401"/>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420453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Options for improving fidelity to the Aligned Measure Set</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marL="0" indent="0">
              <a:buNone/>
            </a:pPr>
            <a:endParaRPr lang="en-US" sz="200" b="0" dirty="0"/>
          </a:p>
          <a:p>
            <a:endParaRPr lang="en-US" dirty="0"/>
          </a:p>
        </p:txBody>
      </p:sp>
      <p:sp>
        <p:nvSpPr>
          <p:cNvPr id="4" name="Content Placeholder 2">
            <a:extLst>
              <a:ext uri="{FF2B5EF4-FFF2-40B4-BE49-F238E27FC236}">
                <a16:creationId xmlns:a16="http://schemas.microsoft.com/office/drawing/2014/main" id="{C28E06FC-6CFE-4F80-9783-644BD1C54E34}"/>
              </a:ext>
            </a:extLst>
          </p:cNvPr>
          <p:cNvSpPr txBox="1">
            <a:spLocks/>
          </p:cNvSpPr>
          <p:nvPr/>
        </p:nvSpPr>
        <p:spPr bwMode="auto">
          <a:xfrm>
            <a:off x="685800" y="1524000"/>
            <a:ext cx="8077200" cy="4556234"/>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r>
              <a:rPr lang="en-US" b="0" kern="0" dirty="0"/>
              <a:t>During the April 20</a:t>
            </a:r>
            <a:r>
              <a:rPr lang="en-US" b="0" kern="0" baseline="30000" dirty="0"/>
              <a:t>th</a:t>
            </a:r>
            <a:r>
              <a:rPr lang="en-US" b="0" kern="0" dirty="0"/>
              <a:t> Taskforce meeting, Taskforce staff revisited the 2020 Quality Measure Catalogue results, including to review: </a:t>
            </a:r>
          </a:p>
          <a:p>
            <a:pPr lvl="1">
              <a:spcAft>
                <a:spcPts val="0"/>
              </a:spcAft>
            </a:pPr>
            <a:r>
              <a:rPr lang="en-US" b="0" dirty="0"/>
              <a:t>updated graphs depicting payer self-reported fidelity to the 2021 Aligned Measure Set, and</a:t>
            </a:r>
          </a:p>
          <a:p>
            <a:pPr lvl="1"/>
            <a:r>
              <a:rPr lang="en-US" b="0" dirty="0"/>
              <a:t>key themes from our interviews with payers. </a:t>
            </a:r>
          </a:p>
          <a:p>
            <a:r>
              <a:rPr lang="en-US" b="0" dirty="0"/>
              <a:t>Adherence to the Measure Set was reported as:  </a:t>
            </a:r>
          </a:p>
          <a:p>
            <a:pPr marL="158750" indent="0">
              <a:buNone/>
            </a:pPr>
            <a:endParaRPr lang="en-US" b="0" kern="0" dirty="0"/>
          </a:p>
        </p:txBody>
      </p:sp>
      <p:pic>
        <p:nvPicPr>
          <p:cNvPr id="6" name="Picture 5">
            <a:extLst>
              <a:ext uri="{FF2B5EF4-FFF2-40B4-BE49-F238E27FC236}">
                <a16:creationId xmlns:a16="http://schemas.microsoft.com/office/drawing/2014/main" id="{70CE2E7A-93F2-4B52-A85E-D1E2F6251286}"/>
              </a:ext>
            </a:extLst>
          </p:cNvPr>
          <p:cNvPicPr>
            <a:picLocks noChangeAspect="1"/>
          </p:cNvPicPr>
          <p:nvPr/>
        </p:nvPicPr>
        <p:blipFill>
          <a:blip r:embed="rId2"/>
          <a:stretch>
            <a:fillRect/>
          </a:stretch>
        </p:blipFill>
        <p:spPr>
          <a:xfrm>
            <a:off x="422949" y="3897690"/>
            <a:ext cx="8340051" cy="2030144"/>
          </a:xfrm>
          <a:prstGeom prst="rect">
            <a:avLst/>
          </a:prstGeom>
        </p:spPr>
      </p:pic>
    </p:spTree>
    <p:extLst>
      <p:ext uri="{BB962C8B-B14F-4D97-AF65-F5344CB8AC3E}">
        <p14:creationId xmlns:p14="http://schemas.microsoft.com/office/powerpoint/2010/main" val="255829731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Options for improving fidelity to the Aligned Measure Set</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371599"/>
            <a:ext cx="8077200" cy="5121667"/>
          </a:xfrm>
        </p:spPr>
        <p:txBody>
          <a:bodyPr/>
          <a:lstStyle/>
          <a:p>
            <a:r>
              <a:rPr lang="en-US" b="0" kern="0" dirty="0"/>
              <a:t>During its May meeting the Taskforce briefly discussed two options for improving payer/provider contract fidelity to the Aligned Measure Set:</a:t>
            </a:r>
          </a:p>
          <a:p>
            <a:pPr marL="803275" lvl="1" indent="-457200">
              <a:spcAft>
                <a:spcPts val="0"/>
              </a:spcAft>
              <a:buFont typeface="+mj-lt"/>
              <a:buAutoNum type="arabicPeriod"/>
            </a:pPr>
            <a:r>
              <a:rPr lang="en-US" b="0" kern="0" dirty="0"/>
              <a:t>Global budget-based risk contracts should be amended annually to reflect changes to the Aligned Measure Set, i.</a:t>
            </a:r>
            <a:r>
              <a:rPr lang="en-US" b="0" dirty="0"/>
              <a:t>e</a:t>
            </a:r>
            <a:r>
              <a:rPr lang="en-US" b="0" kern="0" dirty="0"/>
              <a:t>., the addition of a new Core Measure, or elimination of or substitution for a measure removed from the Aligned Set.</a:t>
            </a:r>
          </a:p>
          <a:p>
            <a:pPr marL="803275" lvl="1" indent="-457200">
              <a:spcAft>
                <a:spcPts val="3000"/>
              </a:spcAft>
              <a:buFont typeface="+mj-lt"/>
              <a:buAutoNum type="arabicPeriod"/>
            </a:pPr>
            <a:r>
              <a:rPr lang="en-US" b="0" kern="0" dirty="0"/>
              <a:t>Global budget-based risk contracts be amended annually to reflect only those changes to the Aligned Measure Set that reflect changes to national clinical guidelines.</a:t>
            </a:r>
            <a:endParaRPr lang="en-US" b="0" dirty="0"/>
          </a:p>
          <a:p>
            <a:r>
              <a:rPr lang="en-US" kern="0" dirty="0"/>
              <a:t>Does the Taskforce wish to recommend either approach? What are the associated pros and cons </a:t>
            </a:r>
            <a:r>
              <a:rPr lang="en-US" dirty="0"/>
              <a:t>for each one</a:t>
            </a:r>
            <a:r>
              <a:rPr lang="en-US" kern="0" dirty="0"/>
              <a:t>? </a:t>
            </a:r>
          </a:p>
        </p:txBody>
      </p:sp>
    </p:spTree>
    <p:extLst>
      <p:ext uri="{BB962C8B-B14F-4D97-AF65-F5344CB8AC3E}">
        <p14:creationId xmlns:p14="http://schemas.microsoft.com/office/powerpoint/2010/main" val="318650340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pPr marL="187325" lvl="1"/>
            <a:r>
              <a:rPr lang="en-US" dirty="0">
                <a:latin typeface="Book Antiqua" panose="02040602050305030304" pitchFamily="18" charset="0"/>
                <a:ea typeface="Times New Roman" panose="02020603050405020304" pitchFamily="18" charset="0"/>
                <a:cs typeface="Times New Roman" panose="02020603050405020304" pitchFamily="18" charset="0"/>
              </a:rPr>
              <a:t>Proposals raised during payer Quality Catalogue interviews</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a:spcAft>
                <a:spcPts val="600"/>
              </a:spcAft>
            </a:pPr>
            <a:r>
              <a:rPr lang="en-US" b="0" dirty="0"/>
              <a:t>At the April 20</a:t>
            </a:r>
            <a:r>
              <a:rPr lang="en-US" b="0" baseline="30000" dirty="0"/>
              <a:t>th</a:t>
            </a:r>
            <a:r>
              <a:rPr lang="en-US" b="0" dirty="0"/>
              <a:t> Taskforce meeting, the Taskforce discussed the results of interviews with the following four payers:</a:t>
            </a:r>
          </a:p>
          <a:p>
            <a:pPr lvl="1">
              <a:spcAft>
                <a:spcPts val="300"/>
              </a:spcAft>
            </a:pPr>
            <a:r>
              <a:rPr lang="en-US" b="0" dirty="0"/>
              <a:t>Blue Cross Blue Shield of Massachusetts</a:t>
            </a:r>
          </a:p>
          <a:p>
            <a:pPr lvl="1">
              <a:spcAft>
                <a:spcPts val="300"/>
              </a:spcAft>
            </a:pPr>
            <a:r>
              <a:rPr lang="en-US" b="0" dirty="0"/>
              <a:t>BMC HealthNet Plan</a:t>
            </a:r>
          </a:p>
          <a:p>
            <a:pPr lvl="1">
              <a:spcAft>
                <a:spcPts val="300"/>
              </a:spcAft>
            </a:pPr>
            <a:r>
              <a:rPr lang="en-US" b="0" dirty="0"/>
              <a:t>Health New England</a:t>
            </a:r>
          </a:p>
          <a:p>
            <a:pPr lvl="1">
              <a:spcAft>
                <a:spcPts val="1800"/>
              </a:spcAft>
            </a:pPr>
            <a:r>
              <a:rPr lang="en-US" b="0" dirty="0"/>
              <a:t>Tufts Health Plan</a:t>
            </a:r>
          </a:p>
          <a:p>
            <a:pPr>
              <a:spcAft>
                <a:spcPts val="600"/>
              </a:spcAft>
            </a:pPr>
            <a:r>
              <a:rPr lang="en-US" b="0" dirty="0"/>
              <a:t>Our goals were to better understand contractual use of:</a:t>
            </a:r>
          </a:p>
          <a:p>
            <a:pPr lvl="1">
              <a:spcAft>
                <a:spcPts val="0"/>
              </a:spcAft>
            </a:pPr>
            <a:r>
              <a:rPr lang="en-US" b="0" dirty="0"/>
              <a:t>the Aligned Measure Set and barriers to adoption;</a:t>
            </a:r>
          </a:p>
          <a:p>
            <a:pPr lvl="1">
              <a:spcAft>
                <a:spcPts val="0"/>
              </a:spcAft>
            </a:pPr>
            <a:r>
              <a:rPr lang="en-US" b="0" dirty="0"/>
              <a:t>measures outside of the Aligned Measure Set, and</a:t>
            </a:r>
          </a:p>
          <a:p>
            <a:pPr lvl="1">
              <a:spcAft>
                <a:spcPts val="0"/>
              </a:spcAft>
            </a:pPr>
            <a:r>
              <a:rPr lang="en-US" b="0" dirty="0"/>
              <a:t>Innovation Measures.</a:t>
            </a:r>
            <a:endParaRPr lang="en-US" b="0" kern="0" dirty="0"/>
          </a:p>
        </p:txBody>
      </p:sp>
    </p:spTree>
    <p:extLst>
      <p:ext uri="{BB962C8B-B14F-4D97-AF65-F5344CB8AC3E}">
        <p14:creationId xmlns:p14="http://schemas.microsoft.com/office/powerpoint/2010/main" val="342078522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a:xfrm>
            <a:off x="736600" y="109538"/>
            <a:ext cx="5417620" cy="762000"/>
          </a:xfrm>
        </p:spPr>
        <p:txBody>
          <a:bodyPr/>
          <a:lstStyle/>
          <a:p>
            <a:r>
              <a:rPr lang="en-US" dirty="0">
                <a:ea typeface="Times New Roman" panose="02020603050405020304" pitchFamily="18" charset="0"/>
                <a:cs typeface="Times New Roman" panose="02020603050405020304" pitchFamily="18" charset="0"/>
              </a:rPr>
              <a:t>Proposals raised during payer Quality Catalogue interviews</a:t>
            </a:r>
            <a:endParaRPr lang="en-US" dirty="0"/>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150882"/>
            <a:ext cx="8077200" cy="5496498"/>
          </a:xfrm>
        </p:spPr>
        <p:txBody>
          <a:bodyPr/>
          <a:lstStyle/>
          <a:p>
            <a:pPr marL="0" indent="0">
              <a:buNone/>
            </a:pPr>
            <a:r>
              <a:rPr lang="en-US" dirty="0"/>
              <a:t>Payers made a few suggestions for Taskforce consideration.  Is the Taskforce interested in recommending any of the following?</a:t>
            </a:r>
          </a:p>
          <a:p>
            <a:pPr marL="803275" lvl="1" indent="-457200">
              <a:buFont typeface="+mj-lt"/>
              <a:buAutoNum type="alphaLcPeriod"/>
            </a:pPr>
            <a:r>
              <a:rPr lang="en-US" b="0" dirty="0"/>
              <a:t>Provide plans with access to DPH’s Massachusetts Immunization Information System (MIIS) to help with calculation of Childhood Immunization Status.</a:t>
            </a:r>
          </a:p>
          <a:p>
            <a:pPr marL="803275" lvl="1" indent="-457200">
              <a:spcAft>
                <a:spcPts val="300"/>
              </a:spcAft>
              <a:buFont typeface="+mj-lt"/>
              <a:buAutoNum type="alphaLcPeriod"/>
            </a:pPr>
            <a:r>
              <a:rPr lang="en-US" b="0" dirty="0"/>
              <a:t>Add subspecialty measures to the Aligned Measure Set, starting with:</a:t>
            </a:r>
          </a:p>
          <a:p>
            <a:pPr marL="396875" lvl="2" indent="0">
              <a:spcBef>
                <a:spcPts val="0"/>
              </a:spcBef>
              <a:spcAft>
                <a:spcPts val="0"/>
              </a:spcAft>
            </a:pPr>
            <a:r>
              <a:rPr lang="en-US" dirty="0"/>
              <a:t>	- </a:t>
            </a:r>
            <a:r>
              <a:rPr lang="en-US" sz="2000" dirty="0">
                <a:latin typeface="Book Antiqua" panose="02040602050305030304" pitchFamily="18" charset="0"/>
              </a:rPr>
              <a:t>maternity care</a:t>
            </a:r>
          </a:p>
          <a:p>
            <a:pPr marL="396875" lvl="2" indent="0">
              <a:spcBef>
                <a:spcPts val="0"/>
              </a:spcBef>
              <a:spcAft>
                <a:spcPts val="1200"/>
              </a:spcAft>
            </a:pPr>
            <a:r>
              <a:rPr lang="en-US" sz="2000" b="0" dirty="0">
                <a:latin typeface="Book Antiqua" panose="02040602050305030304" pitchFamily="18" charset="0"/>
              </a:rPr>
              <a:t>	- behavioral health care</a:t>
            </a:r>
          </a:p>
          <a:p>
            <a:pPr marL="803275" lvl="1" indent="-457200">
              <a:buFont typeface="+mj-lt"/>
              <a:buAutoNum type="alphaLcPeriod"/>
            </a:pPr>
            <a:r>
              <a:rPr lang="en-US" b="0" dirty="0"/>
              <a:t>Add hospital measures.</a:t>
            </a:r>
          </a:p>
          <a:p>
            <a:pPr marL="803275" lvl="1" indent="-457200">
              <a:buFont typeface="+mj-lt"/>
              <a:buAutoNum type="alphaLcPeriod"/>
            </a:pPr>
            <a:r>
              <a:rPr lang="en-US" b="0" dirty="0"/>
              <a:t>Reduce the size of the Menu Set to further alignment because there are still two many possible measures from which to choose (4 Core, 22 Menu, plus 1 On Deck)</a:t>
            </a:r>
          </a:p>
          <a:p>
            <a:pPr marL="803275" lvl="1" indent="-457200">
              <a:spcAft>
                <a:spcPts val="600"/>
              </a:spcAft>
              <a:buFont typeface="+mj-lt"/>
              <a:buAutoNum type="alphaLcPeriod"/>
            </a:pPr>
            <a:r>
              <a:rPr lang="en-US" b="0" dirty="0"/>
              <a:t>Facilitate plan access to EHR clinical data.  Lack of access is a significant barrier to adoption of certain measures.</a:t>
            </a:r>
          </a:p>
          <a:p>
            <a:pPr marL="457200" indent="-457200">
              <a:spcAft>
                <a:spcPts val="600"/>
              </a:spcAft>
              <a:buFont typeface="+mj-lt"/>
              <a:buAutoNum type="arabicPeriod"/>
            </a:pPr>
            <a:endParaRPr lang="en-US" sz="2200" b="0" kern="0" dirty="0"/>
          </a:p>
        </p:txBody>
      </p:sp>
    </p:spTree>
    <p:extLst>
      <p:ext uri="{BB962C8B-B14F-4D97-AF65-F5344CB8AC3E}">
        <p14:creationId xmlns:p14="http://schemas.microsoft.com/office/powerpoint/2010/main" val="17095217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Finalizing the 2022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Feedback from Secretary </a:t>
            </a:r>
            <a:r>
              <a:rPr lang="en-US" b="0" dirty="0" err="1">
                <a:ea typeface="Times New Roman" panose="02020603050405020304" pitchFamily="18" charset="0"/>
                <a:cs typeface="Times New Roman" panose="02020603050405020304" pitchFamily="18" charset="0"/>
              </a:rPr>
              <a:t>Sudders</a:t>
            </a:r>
            <a:r>
              <a:rPr lang="en-US" b="0" dirty="0">
                <a:ea typeface="Times New Roman" panose="02020603050405020304" pitchFamily="18" charset="0"/>
                <a:cs typeface="Times New Roman" panose="02020603050405020304" pitchFamily="18" charset="0"/>
              </a:rPr>
              <a: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Review the 2022 Implementation Parameters </a:t>
            </a:r>
          </a:p>
          <a:p>
            <a:pPr marL="644525" lvl="1" indent="-457200">
              <a:buFont typeface="+mj-lt"/>
              <a:buAutoNum type="alphaLcPeriod"/>
            </a:pPr>
            <a:r>
              <a:rPr lang="en-US" b="0" dirty="0"/>
              <a:t>Finalize specifications for the stratification measure </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Incorporate Substance Use Assessment in Primary Car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Proposal to modify the Annual Review timeline </a:t>
            </a:r>
            <a:endParaRPr lang="en-US" dirty="0"/>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policy proposals</a:t>
            </a:r>
            <a:endParaRPr lang="en-US" b="0" dirty="0">
              <a:ea typeface="Times New Roman" panose="02020603050405020304" pitchFamily="18" charset="0"/>
              <a:cs typeface="Times New Roman" panose="02020603050405020304" pitchFamily="18" charset="0"/>
            </a:endParaRP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Options for improving fidelity to the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Proposals raised during payer Quality Catalogue interviews</a:t>
            </a:r>
          </a:p>
          <a:p>
            <a:pPr marL="457200" indent="-457200">
              <a:buFont typeface="+mj-lt"/>
              <a:buAutoNum type="arabicPeriod"/>
            </a:pPr>
            <a:r>
              <a:rPr lang="en-US" sz="2000" dirty="0">
                <a:cs typeface="Times New Roman" panose="02020603050405020304" pitchFamily="18" charset="0"/>
              </a:rPr>
              <a:t>Consider a BCBSMA proposal to improve equity measurement</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5697072"/>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131594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sz="2400" dirty="0">
                <a:cs typeface="Times New Roman" panose="02020603050405020304" pitchFamily="18" charset="0"/>
              </a:rPr>
              <a:t>BCBSMA proposal to improve equity measurement</a:t>
            </a:r>
            <a:endParaRPr lang="en-US" dirty="0"/>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a:xfrm>
            <a:off x="533400" y="1371600"/>
            <a:ext cx="8077200" cy="4875088"/>
          </a:xfrm>
        </p:spPr>
        <p:txBody>
          <a:bodyPr/>
          <a:lstStyle/>
          <a:p>
            <a:pPr>
              <a:spcAft>
                <a:spcPts val="600"/>
              </a:spcAft>
            </a:pPr>
            <a:r>
              <a:rPr lang="en-US" dirty="0"/>
              <a:t>BCBSMA Proposal: </a:t>
            </a:r>
            <a:r>
              <a:rPr lang="en-US" b="0" dirty="0"/>
              <a:t>To facilitate alignment on ACO contract measures of  equity of quality of care, the EOHHS Measure Alignment Task Force shall agree upon the following principles:</a:t>
            </a:r>
          </a:p>
          <a:p>
            <a:pPr marL="815975" lvl="2" indent="-457200">
              <a:spcAft>
                <a:spcPts val="0"/>
              </a:spcAft>
              <a:buFont typeface="+mj-lt"/>
              <a:buAutoNum type="arabicPeriod"/>
            </a:pPr>
            <a:r>
              <a:rPr lang="en-US" sz="2000" b="0" dirty="0">
                <a:latin typeface="Book Antiqua" panose="02040602050305030304" pitchFamily="18" charset="0"/>
              </a:rPr>
              <a:t>All payers and providers draw individual patient race and ethnicity data from a single “source of truth” for the purpose of calculating performance on equity measures.</a:t>
            </a:r>
          </a:p>
          <a:p>
            <a:pPr marL="815975" lvl="2" indent="-457200">
              <a:spcAft>
                <a:spcPts val="0"/>
              </a:spcAft>
              <a:buFont typeface="+mj-lt"/>
              <a:buAutoNum type="arabicPeriod"/>
            </a:pPr>
            <a:r>
              <a:rPr lang="en-US" sz="2000" dirty="0">
                <a:latin typeface="Book Antiqua" panose="02040602050305030304" pitchFamily="18" charset="0"/>
              </a:rPr>
              <a:t>There should be </a:t>
            </a:r>
            <a:r>
              <a:rPr lang="en-US" sz="2000" b="0" dirty="0">
                <a:latin typeface="Book Antiqua" panose="02040602050305030304" pitchFamily="18" charset="0"/>
              </a:rPr>
              <a:t>work towards the construction of a single, best “source of truth” for individual patient race and ethnicity data.</a:t>
            </a:r>
          </a:p>
          <a:p>
            <a:pPr marL="815975" lvl="2" indent="-457200">
              <a:spcAft>
                <a:spcPts val="600"/>
              </a:spcAft>
              <a:buFont typeface="+mj-lt"/>
              <a:buAutoNum type="arabicPeriod"/>
            </a:pPr>
            <a:r>
              <a:rPr lang="en-US" sz="2000" b="0" dirty="0">
                <a:latin typeface="Book Antiqua" panose="02040602050305030304" pitchFamily="18" charset="0"/>
              </a:rPr>
              <a:t>The creation of multiple, potentially conflicting datasets for individual patient race and ethnicity is discouraged.</a:t>
            </a:r>
          </a:p>
          <a:p>
            <a:endParaRPr lang="en-US" sz="600" dirty="0">
              <a:effectLst/>
              <a:latin typeface="Calibri" panose="020F0502020204030204" pitchFamily="34" charset="0"/>
              <a:ea typeface="Calibri" panose="020F0502020204030204" pitchFamily="34" charset="0"/>
            </a:endParaRPr>
          </a:p>
          <a:p>
            <a:r>
              <a:rPr lang="en-US" b="0" dirty="0">
                <a:effectLst/>
              </a:rPr>
              <a:t>The creation of an action plan </a:t>
            </a:r>
            <a:r>
              <a:rPr lang="en-US" b="0" dirty="0"/>
              <a:t>to operationalize these principles would </a:t>
            </a:r>
            <a:r>
              <a:rPr lang="en-US" b="0" dirty="0">
                <a:effectLst/>
              </a:rPr>
              <a:t>require resources and scope of authority that the Taskforce doesn’t have; EOHHS would need to assist in providing such support.</a:t>
            </a:r>
            <a:endParaRPr lang="en-US" b="0" dirty="0"/>
          </a:p>
          <a:p>
            <a:pPr marL="0" indent="0">
              <a:buNone/>
            </a:pPr>
            <a:endParaRPr lang="en-US" dirty="0"/>
          </a:p>
        </p:txBody>
      </p:sp>
    </p:spTree>
    <p:extLst>
      <p:ext uri="{BB962C8B-B14F-4D97-AF65-F5344CB8AC3E}">
        <p14:creationId xmlns:p14="http://schemas.microsoft.com/office/powerpoint/2010/main" val="212728587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Finalizing the 2022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Feedback from Secretary </a:t>
            </a:r>
            <a:r>
              <a:rPr lang="en-US" b="0" dirty="0" err="1">
                <a:ea typeface="Times New Roman" panose="02020603050405020304" pitchFamily="18" charset="0"/>
                <a:cs typeface="Times New Roman" panose="02020603050405020304" pitchFamily="18" charset="0"/>
              </a:rPr>
              <a:t>Sudders</a:t>
            </a:r>
            <a:r>
              <a:rPr lang="en-US" b="0" dirty="0">
                <a:ea typeface="Times New Roman" panose="02020603050405020304" pitchFamily="18" charset="0"/>
                <a:cs typeface="Times New Roman" panose="02020603050405020304" pitchFamily="18" charset="0"/>
              </a:rPr>
              <a: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Review the 2022 Implementation Parameters </a:t>
            </a:r>
          </a:p>
          <a:p>
            <a:pPr marL="644525" lvl="1" indent="-457200">
              <a:buFont typeface="+mj-lt"/>
              <a:buAutoNum type="alphaLcPeriod"/>
            </a:pPr>
            <a:r>
              <a:rPr lang="en-US" b="0" dirty="0"/>
              <a:t>Finalize specifications for the stratification measure </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Incorporate Substance Use Assessment in Primary Car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Proposal to modify the Annual Review timeline </a:t>
            </a:r>
            <a:endParaRPr lang="en-US" dirty="0"/>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policy proposals</a:t>
            </a:r>
            <a:endParaRPr lang="en-US" b="0" dirty="0">
              <a:ea typeface="Times New Roman" panose="02020603050405020304" pitchFamily="18" charset="0"/>
              <a:cs typeface="Times New Roman" panose="02020603050405020304" pitchFamily="18" charset="0"/>
            </a:endParaRP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Options for improving fidelity to the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Proposals raised during payer Quality Catalogue interviews</a:t>
            </a:r>
          </a:p>
          <a:p>
            <a:pPr marL="457200" indent="-457200">
              <a:buFont typeface="+mj-lt"/>
              <a:buAutoNum type="arabicPeriod"/>
            </a:pPr>
            <a:r>
              <a:rPr lang="en-US" sz="2000" dirty="0">
                <a:cs typeface="Times New Roman" panose="02020603050405020304" pitchFamily="18" charset="0"/>
              </a:rPr>
              <a:t>Consider a BCBSMA proposal to improve equity measurement</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1066155"/>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343898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Finalizing the 2022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Feedback from Secretary </a:t>
            </a:r>
            <a:r>
              <a:rPr lang="en-US" b="0" dirty="0" err="1">
                <a:ea typeface="Times New Roman" panose="02020603050405020304" pitchFamily="18" charset="0"/>
                <a:cs typeface="Times New Roman" panose="02020603050405020304" pitchFamily="18" charset="0"/>
              </a:rPr>
              <a:t>Sudders</a:t>
            </a:r>
            <a:r>
              <a:rPr lang="en-US" b="0" dirty="0">
                <a:ea typeface="Times New Roman" panose="02020603050405020304" pitchFamily="18" charset="0"/>
                <a:cs typeface="Times New Roman" panose="02020603050405020304" pitchFamily="18" charset="0"/>
              </a:rPr>
              <a: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Review the 2022 Implementation Parameters </a:t>
            </a:r>
          </a:p>
          <a:p>
            <a:pPr marL="644525" lvl="1" indent="-457200">
              <a:buFont typeface="+mj-lt"/>
              <a:buAutoNum type="alphaLcPeriod"/>
            </a:pPr>
            <a:r>
              <a:rPr lang="en-US" b="0" dirty="0"/>
              <a:t>Finalize specifications for the stratification measure </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Incorporate Substance Use Assessment in Primary Car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Proposal to modify the Annual Review timeline </a:t>
            </a:r>
            <a:endParaRPr lang="en-US" dirty="0"/>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policy proposals</a:t>
            </a:r>
            <a:endParaRPr lang="en-US" b="0" dirty="0">
              <a:ea typeface="Times New Roman" panose="02020603050405020304" pitchFamily="18" charset="0"/>
              <a:cs typeface="Times New Roman" panose="02020603050405020304" pitchFamily="18" charset="0"/>
            </a:endParaRP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Options for improving fidelity to the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Proposals raised during payer Quality Catalogue interviews</a:t>
            </a:r>
          </a:p>
          <a:p>
            <a:pPr marL="457200" indent="-457200">
              <a:buFont typeface="+mj-lt"/>
              <a:buAutoNum type="arabicPeriod"/>
            </a:pPr>
            <a:r>
              <a:rPr lang="en-US" sz="2000" dirty="0">
                <a:cs typeface="Times New Roman" panose="02020603050405020304" pitchFamily="18" charset="0"/>
              </a:rPr>
              <a:t>Consider a BCBSMA proposal to improve equity measurement</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6210366"/>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300192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marL="0" indent="0">
              <a:buNone/>
            </a:pPr>
            <a:endParaRPr lang="en-US" sz="200" b="0" dirty="0"/>
          </a:p>
          <a:p>
            <a:r>
              <a:rPr lang="en-US" b="0" dirty="0"/>
              <a:t>The next Taskforce meeting is scheduled for </a:t>
            </a:r>
            <a:r>
              <a:rPr lang="en-US" dirty="0"/>
              <a:t>July 29</a:t>
            </a:r>
            <a:r>
              <a:rPr lang="en-US" baseline="30000" dirty="0"/>
              <a:t>th</a:t>
            </a:r>
            <a:r>
              <a:rPr lang="en-US" dirty="0"/>
              <a:t> from 3:00 – 5:00 pm.</a:t>
            </a:r>
          </a:p>
        </p:txBody>
      </p:sp>
    </p:spTree>
    <p:extLst>
      <p:ext uri="{BB962C8B-B14F-4D97-AF65-F5344CB8AC3E}">
        <p14:creationId xmlns:p14="http://schemas.microsoft.com/office/powerpoint/2010/main" val="171637260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Finalizing the 2022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Feedback from Secretary </a:t>
            </a:r>
            <a:r>
              <a:rPr lang="en-US" b="0" dirty="0" err="1">
                <a:ea typeface="Times New Roman" panose="02020603050405020304" pitchFamily="18" charset="0"/>
                <a:cs typeface="Times New Roman" panose="02020603050405020304" pitchFamily="18" charset="0"/>
              </a:rPr>
              <a:t>Sudders</a:t>
            </a:r>
            <a:r>
              <a:rPr lang="en-US" b="0" dirty="0">
                <a:ea typeface="Times New Roman" panose="02020603050405020304" pitchFamily="18" charset="0"/>
                <a:cs typeface="Times New Roman" panose="02020603050405020304" pitchFamily="18" charset="0"/>
              </a:rPr>
              <a: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Review the 2022 Implementation Parameters </a:t>
            </a:r>
          </a:p>
          <a:p>
            <a:pPr marL="644525" lvl="1" indent="-457200">
              <a:buFont typeface="+mj-lt"/>
              <a:buAutoNum type="alphaLcPeriod"/>
            </a:pPr>
            <a:r>
              <a:rPr lang="en-US" b="0" dirty="0"/>
              <a:t>Finalize specifications for the stratification measure </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Incorporate Substance Use Assessment in Primary Car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Proposal to modify the Annual Review timeline </a:t>
            </a:r>
            <a:endParaRPr lang="en-US" dirty="0"/>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policy proposals</a:t>
            </a:r>
            <a:endParaRPr lang="en-US" b="0" dirty="0">
              <a:ea typeface="Times New Roman" panose="02020603050405020304" pitchFamily="18" charset="0"/>
              <a:cs typeface="Times New Roman" panose="02020603050405020304" pitchFamily="18" charset="0"/>
            </a:endParaRP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Options for improving fidelity to the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Proposals raised during payer Quality Catalogue interviews</a:t>
            </a:r>
          </a:p>
          <a:p>
            <a:pPr marL="457200" indent="-457200">
              <a:buFont typeface="+mj-lt"/>
              <a:buAutoNum type="arabicPeriod"/>
            </a:pPr>
            <a:r>
              <a:rPr lang="en-US" sz="2000" dirty="0">
                <a:cs typeface="Times New Roman" panose="02020603050405020304" pitchFamily="18" charset="0"/>
              </a:rPr>
              <a:t>Consider a BCBSMA proposal to improve equity measurement</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1586108"/>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463055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Feedback from Secretary </a:t>
            </a:r>
            <a:r>
              <a:rPr lang="en-US" dirty="0" err="1"/>
              <a:t>Sudders</a:t>
            </a:r>
            <a:r>
              <a:rPr lang="en-US" dirty="0"/>
              <a:t> </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a:spcAft>
                <a:spcPts val="600"/>
              </a:spcAft>
            </a:pPr>
            <a:r>
              <a:rPr lang="en-US" b="0" dirty="0"/>
              <a:t>A memo regarding the Recommendations for the 2022 Aligned Measure Set was submitted by Undersecretary Lauren Peters on behalf of the Quality Measure Alignment Taskforce to Secretary </a:t>
            </a:r>
            <a:r>
              <a:rPr lang="en-US" b="0" dirty="0" err="1"/>
              <a:t>Sudders</a:t>
            </a:r>
            <a:r>
              <a:rPr lang="en-US" b="0" dirty="0"/>
              <a:t> on June 1</a:t>
            </a:r>
            <a:r>
              <a:rPr lang="en-US" b="0" baseline="30000" dirty="0"/>
              <a:t>st</a:t>
            </a:r>
            <a:r>
              <a:rPr lang="en-US" b="0" dirty="0"/>
              <a:t>.  </a:t>
            </a:r>
          </a:p>
          <a:p>
            <a:pPr lvl="1">
              <a:spcAft>
                <a:spcPts val="600"/>
              </a:spcAft>
            </a:pPr>
            <a:r>
              <a:rPr lang="en-US" b="0" dirty="0"/>
              <a:t>This memo was distributed to the Taskforce with the June Taskforce materials. </a:t>
            </a:r>
          </a:p>
          <a:p>
            <a:pPr>
              <a:spcAft>
                <a:spcPts val="600"/>
              </a:spcAft>
            </a:pPr>
            <a:r>
              <a:rPr lang="en-US" b="0" dirty="0"/>
              <a:t>The memo reviewed the Taskforce’s recommended changes to the 2022 Aligned Measure Set and the rationale for the changes.</a:t>
            </a:r>
          </a:p>
          <a:p>
            <a:pPr>
              <a:spcAft>
                <a:spcPts val="600"/>
              </a:spcAft>
            </a:pPr>
            <a:r>
              <a:rPr lang="en-US" b="0" dirty="0"/>
              <a:t>Secretary </a:t>
            </a:r>
            <a:r>
              <a:rPr lang="en-US" b="0" dirty="0" err="1"/>
              <a:t>Sudders</a:t>
            </a:r>
            <a:r>
              <a:rPr lang="en-US" b="0" dirty="0"/>
              <a:t> received the memo and has [</a:t>
            </a:r>
            <a:r>
              <a:rPr lang="en-US" b="0" dirty="0">
                <a:highlight>
                  <a:srgbClr val="FFFF00"/>
                </a:highlight>
              </a:rPr>
              <a:t>placeholder for feedback</a:t>
            </a:r>
            <a:r>
              <a:rPr lang="en-US" b="0" dirty="0"/>
              <a:t>].  </a:t>
            </a:r>
          </a:p>
        </p:txBody>
      </p:sp>
    </p:spTree>
    <p:extLst>
      <p:ext uri="{BB962C8B-B14F-4D97-AF65-F5344CB8AC3E}">
        <p14:creationId xmlns:p14="http://schemas.microsoft.com/office/powerpoint/2010/main" val="299034243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Implementation Parameters: Updates for 2022  </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r>
              <a:rPr lang="en-US" dirty="0"/>
              <a:t>The 2022 Implementation Parameters was attached with the meeting materials. Updates for 2022 include: </a:t>
            </a:r>
          </a:p>
          <a:p>
            <a:pPr marL="457200" indent="-457200">
              <a:spcAft>
                <a:spcPts val="600"/>
              </a:spcAft>
              <a:buFont typeface="+mj-lt"/>
              <a:buAutoNum type="arabicPeriod"/>
            </a:pPr>
            <a:r>
              <a:rPr lang="en-US" b="0" dirty="0"/>
              <a:t>Updating the Menu, Monitoring, On Deck, and Developmental Sets.  The </a:t>
            </a:r>
            <a:r>
              <a:rPr lang="en-US" b="0" i="1" dirty="0"/>
              <a:t>Core Set did not change </a:t>
            </a:r>
            <a:r>
              <a:rPr lang="en-US" b="0" dirty="0"/>
              <a:t>from 2021 – 2022. </a:t>
            </a:r>
          </a:p>
          <a:p>
            <a:pPr marL="457200" indent="-457200">
              <a:spcAft>
                <a:spcPts val="600"/>
              </a:spcAft>
              <a:buFont typeface="+mj-lt"/>
              <a:buAutoNum type="arabicPeriod"/>
            </a:pPr>
            <a:r>
              <a:rPr lang="en-US" b="0" dirty="0"/>
              <a:t>Specifying that Developmental and Innovation measures </a:t>
            </a:r>
            <a:r>
              <a:rPr lang="en-US" b="0" i="1" dirty="0"/>
              <a:t>cannot replace Core measures</a:t>
            </a:r>
            <a:r>
              <a:rPr lang="en-US" b="0" dirty="0"/>
              <a:t> for those payers and providers voluntarily adopting the Aligned Measure Set.</a:t>
            </a:r>
          </a:p>
          <a:p>
            <a:pPr marL="457200" indent="-457200">
              <a:spcAft>
                <a:spcPts val="600"/>
              </a:spcAft>
              <a:buFont typeface="+mj-lt"/>
              <a:buAutoNum type="arabicPeriod"/>
            </a:pPr>
            <a:r>
              <a:rPr lang="en-US" b="0" dirty="0"/>
              <a:t>Adding that it is considered outside of the scope of the Taskforce to specific monetary value attached to the measures; however, an insurer </a:t>
            </a:r>
            <a:r>
              <a:rPr lang="en-US" b="0" i="1" dirty="0"/>
              <a:t>may not attach a de minimis amount </a:t>
            </a:r>
            <a:r>
              <a:rPr lang="en-US" b="0" dirty="0"/>
              <a:t>to a Core Measure such that performance on the Core Measure lacks meaningful financial implication for the provider. </a:t>
            </a:r>
          </a:p>
        </p:txBody>
      </p:sp>
    </p:spTree>
    <p:extLst>
      <p:ext uri="{BB962C8B-B14F-4D97-AF65-F5344CB8AC3E}">
        <p14:creationId xmlns:p14="http://schemas.microsoft.com/office/powerpoint/2010/main" val="158282399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down)">
                                      <p:cBhvr>
                                        <p:cTn id="7" dur="580">
                                          <p:stCondLst>
                                            <p:cond delay="0"/>
                                          </p:stCondLst>
                                        </p:cTn>
                                        <p:tgtEl>
                                          <p:spTgt spid="3">
                                            <p:txEl>
                                              <p:pRg st="1" end="1"/>
                                            </p:txEl>
                                          </p:spTgt>
                                        </p:tgtEl>
                                      </p:cBhvr>
                                    </p:animEffect>
                                    <p:anim calcmode="lin" valueType="num">
                                      <p:cBhvr>
                                        <p:cTn id="8" dur="1822" tmFilter="0,0; 0.14,0.36; 0.43,0.73; 0.71,0.91; 1.0,1.0">
                                          <p:stCondLst>
                                            <p:cond delay="0"/>
                                          </p:stCondLst>
                                        </p:cTn>
                                        <p:tgtEl>
                                          <p:spTgt spid="3">
                                            <p:txEl>
                                              <p:pRg st="1" end="1"/>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xEl>
                                              <p:pRg st="1" end="1"/>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xEl>
                                              <p:pRg st="1" end="1"/>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xEl>
                                              <p:pRg st="1" end="1"/>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xEl>
                                              <p:pRg st="1" end="1"/>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xEl>
                                              <p:pRg st="1" end="1"/>
                                            </p:txEl>
                                          </p:spTgt>
                                        </p:tgtEl>
                                      </p:cBhvr>
                                      <p:to x="100000" y="60000"/>
                                    </p:animScale>
                                    <p:animScale>
                                      <p:cBhvr>
                                        <p:cTn id="14" dur="166" decel="50000">
                                          <p:stCondLst>
                                            <p:cond delay="676"/>
                                          </p:stCondLst>
                                        </p:cTn>
                                        <p:tgtEl>
                                          <p:spTgt spid="3">
                                            <p:txEl>
                                              <p:pRg st="1" end="1"/>
                                            </p:txEl>
                                          </p:spTgt>
                                        </p:tgtEl>
                                      </p:cBhvr>
                                      <p:to x="100000" y="100000"/>
                                    </p:animScale>
                                    <p:animScale>
                                      <p:cBhvr>
                                        <p:cTn id="15" dur="26">
                                          <p:stCondLst>
                                            <p:cond delay="1312"/>
                                          </p:stCondLst>
                                        </p:cTn>
                                        <p:tgtEl>
                                          <p:spTgt spid="3">
                                            <p:txEl>
                                              <p:pRg st="1" end="1"/>
                                            </p:txEl>
                                          </p:spTgt>
                                        </p:tgtEl>
                                      </p:cBhvr>
                                      <p:to x="100000" y="80000"/>
                                    </p:animScale>
                                    <p:animScale>
                                      <p:cBhvr>
                                        <p:cTn id="16" dur="166" decel="50000">
                                          <p:stCondLst>
                                            <p:cond delay="1338"/>
                                          </p:stCondLst>
                                        </p:cTn>
                                        <p:tgtEl>
                                          <p:spTgt spid="3">
                                            <p:txEl>
                                              <p:pRg st="1" end="1"/>
                                            </p:txEl>
                                          </p:spTgt>
                                        </p:tgtEl>
                                      </p:cBhvr>
                                      <p:to x="100000" y="100000"/>
                                    </p:animScale>
                                    <p:animScale>
                                      <p:cBhvr>
                                        <p:cTn id="17" dur="26">
                                          <p:stCondLst>
                                            <p:cond delay="1642"/>
                                          </p:stCondLst>
                                        </p:cTn>
                                        <p:tgtEl>
                                          <p:spTgt spid="3">
                                            <p:txEl>
                                              <p:pRg st="1" end="1"/>
                                            </p:txEl>
                                          </p:spTgt>
                                        </p:tgtEl>
                                      </p:cBhvr>
                                      <p:to x="100000" y="90000"/>
                                    </p:animScale>
                                    <p:animScale>
                                      <p:cBhvr>
                                        <p:cTn id="18" dur="166" decel="50000">
                                          <p:stCondLst>
                                            <p:cond delay="1668"/>
                                          </p:stCondLst>
                                        </p:cTn>
                                        <p:tgtEl>
                                          <p:spTgt spid="3">
                                            <p:txEl>
                                              <p:pRg st="1" end="1"/>
                                            </p:txEl>
                                          </p:spTgt>
                                        </p:tgtEl>
                                      </p:cBhvr>
                                      <p:to x="100000" y="100000"/>
                                    </p:animScale>
                                    <p:animScale>
                                      <p:cBhvr>
                                        <p:cTn id="19" dur="26">
                                          <p:stCondLst>
                                            <p:cond delay="1808"/>
                                          </p:stCondLst>
                                        </p:cTn>
                                        <p:tgtEl>
                                          <p:spTgt spid="3">
                                            <p:txEl>
                                              <p:pRg st="1" end="1"/>
                                            </p:txEl>
                                          </p:spTgt>
                                        </p:tgtEl>
                                      </p:cBhvr>
                                      <p:to x="100000" y="95000"/>
                                    </p:animScale>
                                    <p:animScale>
                                      <p:cBhvr>
                                        <p:cTn id="20" dur="166" decel="50000">
                                          <p:stCondLst>
                                            <p:cond delay="1834"/>
                                          </p:stCondLst>
                                        </p:cTn>
                                        <p:tgtEl>
                                          <p:spTgt spid="3">
                                            <p:txEl>
                                              <p:pRg st="1" end="1"/>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nodeType="clickEffect">
                                  <p:stCondLst>
                                    <p:cond delay="0"/>
                                  </p:stCondLst>
                                  <p:childTnLst>
                                    <p:set>
                                      <p:cBhvr>
                                        <p:cTn id="24" dur="1" fill="hold">
                                          <p:stCondLst>
                                            <p:cond delay="0"/>
                                          </p:stCondLst>
                                        </p:cTn>
                                        <p:tgtEl>
                                          <p:spTgt spid="3">
                                            <p:txEl>
                                              <p:pRg st="2" end="2"/>
                                            </p:txEl>
                                          </p:spTgt>
                                        </p:tgtEl>
                                        <p:attrNameLst>
                                          <p:attrName>style.visibility</p:attrName>
                                        </p:attrNameLst>
                                      </p:cBhvr>
                                      <p:to>
                                        <p:strVal val="visible"/>
                                      </p:to>
                                    </p:set>
                                    <p:animEffect transition="in" filter="wipe(down)">
                                      <p:cBhvr>
                                        <p:cTn id="25" dur="580">
                                          <p:stCondLst>
                                            <p:cond delay="0"/>
                                          </p:stCondLst>
                                        </p:cTn>
                                        <p:tgtEl>
                                          <p:spTgt spid="3">
                                            <p:txEl>
                                              <p:pRg st="2" end="2"/>
                                            </p:txEl>
                                          </p:spTgt>
                                        </p:tgtEl>
                                      </p:cBhvr>
                                    </p:animEffect>
                                    <p:anim calcmode="lin" valueType="num">
                                      <p:cBhvr>
                                        <p:cTn id="26" dur="1822" tmFilter="0,0; 0.14,0.36; 0.43,0.73; 0.71,0.91; 1.0,1.0">
                                          <p:stCondLst>
                                            <p:cond delay="0"/>
                                          </p:stCondLst>
                                        </p:cTn>
                                        <p:tgtEl>
                                          <p:spTgt spid="3">
                                            <p:txEl>
                                              <p:pRg st="2" end="2"/>
                                            </p:txEl>
                                          </p:spTgt>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3">
                                            <p:txEl>
                                              <p:pRg st="2" end="2"/>
                                            </p:txEl>
                                          </p:spTgt>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3">
                                            <p:txEl>
                                              <p:pRg st="2" end="2"/>
                                            </p:txEl>
                                          </p:spTgt>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3">
                                            <p:txEl>
                                              <p:pRg st="2" end="2"/>
                                            </p:txEl>
                                          </p:spTgt>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3">
                                            <p:txEl>
                                              <p:pRg st="2" end="2"/>
                                            </p:txEl>
                                          </p:spTgt>
                                        </p:tgtEl>
                                        <p:attrNameLst>
                                          <p:attrName>ppt_y</p:attrName>
                                        </p:attrNameLst>
                                      </p:cBhvr>
                                      <p:tavLst>
                                        <p:tav tm="0" fmla="#ppt_y-sin(pi*$)/81">
                                          <p:val>
                                            <p:fltVal val="0"/>
                                          </p:val>
                                        </p:tav>
                                        <p:tav tm="100000">
                                          <p:val>
                                            <p:fltVal val="1"/>
                                          </p:val>
                                        </p:tav>
                                      </p:tavLst>
                                    </p:anim>
                                    <p:animScale>
                                      <p:cBhvr>
                                        <p:cTn id="31" dur="26">
                                          <p:stCondLst>
                                            <p:cond delay="650"/>
                                          </p:stCondLst>
                                        </p:cTn>
                                        <p:tgtEl>
                                          <p:spTgt spid="3">
                                            <p:txEl>
                                              <p:pRg st="2" end="2"/>
                                            </p:txEl>
                                          </p:spTgt>
                                        </p:tgtEl>
                                      </p:cBhvr>
                                      <p:to x="100000" y="60000"/>
                                    </p:animScale>
                                    <p:animScale>
                                      <p:cBhvr>
                                        <p:cTn id="32" dur="166" decel="50000">
                                          <p:stCondLst>
                                            <p:cond delay="676"/>
                                          </p:stCondLst>
                                        </p:cTn>
                                        <p:tgtEl>
                                          <p:spTgt spid="3">
                                            <p:txEl>
                                              <p:pRg st="2" end="2"/>
                                            </p:txEl>
                                          </p:spTgt>
                                        </p:tgtEl>
                                      </p:cBhvr>
                                      <p:to x="100000" y="100000"/>
                                    </p:animScale>
                                    <p:animScale>
                                      <p:cBhvr>
                                        <p:cTn id="33" dur="26">
                                          <p:stCondLst>
                                            <p:cond delay="1312"/>
                                          </p:stCondLst>
                                        </p:cTn>
                                        <p:tgtEl>
                                          <p:spTgt spid="3">
                                            <p:txEl>
                                              <p:pRg st="2" end="2"/>
                                            </p:txEl>
                                          </p:spTgt>
                                        </p:tgtEl>
                                      </p:cBhvr>
                                      <p:to x="100000" y="80000"/>
                                    </p:animScale>
                                    <p:animScale>
                                      <p:cBhvr>
                                        <p:cTn id="34" dur="166" decel="50000">
                                          <p:stCondLst>
                                            <p:cond delay="1338"/>
                                          </p:stCondLst>
                                        </p:cTn>
                                        <p:tgtEl>
                                          <p:spTgt spid="3">
                                            <p:txEl>
                                              <p:pRg st="2" end="2"/>
                                            </p:txEl>
                                          </p:spTgt>
                                        </p:tgtEl>
                                      </p:cBhvr>
                                      <p:to x="100000" y="100000"/>
                                    </p:animScale>
                                    <p:animScale>
                                      <p:cBhvr>
                                        <p:cTn id="35" dur="26">
                                          <p:stCondLst>
                                            <p:cond delay="1642"/>
                                          </p:stCondLst>
                                        </p:cTn>
                                        <p:tgtEl>
                                          <p:spTgt spid="3">
                                            <p:txEl>
                                              <p:pRg st="2" end="2"/>
                                            </p:txEl>
                                          </p:spTgt>
                                        </p:tgtEl>
                                      </p:cBhvr>
                                      <p:to x="100000" y="90000"/>
                                    </p:animScale>
                                    <p:animScale>
                                      <p:cBhvr>
                                        <p:cTn id="36" dur="166" decel="50000">
                                          <p:stCondLst>
                                            <p:cond delay="1668"/>
                                          </p:stCondLst>
                                        </p:cTn>
                                        <p:tgtEl>
                                          <p:spTgt spid="3">
                                            <p:txEl>
                                              <p:pRg st="2" end="2"/>
                                            </p:txEl>
                                          </p:spTgt>
                                        </p:tgtEl>
                                      </p:cBhvr>
                                      <p:to x="100000" y="100000"/>
                                    </p:animScale>
                                    <p:animScale>
                                      <p:cBhvr>
                                        <p:cTn id="37" dur="26">
                                          <p:stCondLst>
                                            <p:cond delay="1808"/>
                                          </p:stCondLst>
                                        </p:cTn>
                                        <p:tgtEl>
                                          <p:spTgt spid="3">
                                            <p:txEl>
                                              <p:pRg st="2" end="2"/>
                                            </p:txEl>
                                          </p:spTgt>
                                        </p:tgtEl>
                                      </p:cBhvr>
                                      <p:to x="100000" y="95000"/>
                                    </p:animScale>
                                    <p:animScale>
                                      <p:cBhvr>
                                        <p:cTn id="38" dur="166" decel="50000">
                                          <p:stCondLst>
                                            <p:cond delay="1834"/>
                                          </p:stCondLst>
                                        </p:cTn>
                                        <p:tgtEl>
                                          <p:spTgt spid="3">
                                            <p:txEl>
                                              <p:pRg st="2" end="2"/>
                                            </p:txEl>
                                          </p:spTgt>
                                        </p:tgtEl>
                                      </p:cBhvr>
                                      <p:to x="100000" y="100000"/>
                                    </p:animScale>
                                  </p:childTnLst>
                                </p:cTn>
                              </p:par>
                            </p:childTnLst>
                          </p:cTn>
                        </p:par>
                      </p:childTnLst>
                    </p:cTn>
                  </p:par>
                  <p:par>
                    <p:cTn id="39" fill="hold">
                      <p:stCondLst>
                        <p:cond delay="indefinite"/>
                      </p:stCondLst>
                      <p:childTnLst>
                        <p:par>
                          <p:cTn id="40" fill="hold">
                            <p:stCondLst>
                              <p:cond delay="0"/>
                            </p:stCondLst>
                            <p:childTnLst>
                              <p:par>
                                <p:cTn id="41" presetID="26" presetClass="entr" presetSubtype="0" fill="hold" nodeType="clickEffect">
                                  <p:stCondLst>
                                    <p:cond delay="0"/>
                                  </p:stCondLst>
                                  <p:childTnLst>
                                    <p:set>
                                      <p:cBhvr>
                                        <p:cTn id="42" dur="1" fill="hold">
                                          <p:stCondLst>
                                            <p:cond delay="0"/>
                                          </p:stCondLst>
                                        </p:cTn>
                                        <p:tgtEl>
                                          <p:spTgt spid="3">
                                            <p:txEl>
                                              <p:pRg st="3" end="3"/>
                                            </p:txEl>
                                          </p:spTgt>
                                        </p:tgtEl>
                                        <p:attrNameLst>
                                          <p:attrName>style.visibility</p:attrName>
                                        </p:attrNameLst>
                                      </p:cBhvr>
                                      <p:to>
                                        <p:strVal val="visible"/>
                                      </p:to>
                                    </p:set>
                                    <p:animEffect transition="in" filter="wipe(down)">
                                      <p:cBhvr>
                                        <p:cTn id="43" dur="580">
                                          <p:stCondLst>
                                            <p:cond delay="0"/>
                                          </p:stCondLst>
                                        </p:cTn>
                                        <p:tgtEl>
                                          <p:spTgt spid="3">
                                            <p:txEl>
                                              <p:pRg st="3" end="3"/>
                                            </p:txEl>
                                          </p:spTgt>
                                        </p:tgtEl>
                                      </p:cBhvr>
                                    </p:animEffect>
                                    <p:anim calcmode="lin" valueType="num">
                                      <p:cBhvr>
                                        <p:cTn id="44" dur="1822" tmFilter="0,0; 0.14,0.36; 0.43,0.73; 0.71,0.91; 1.0,1.0">
                                          <p:stCondLst>
                                            <p:cond delay="0"/>
                                          </p:stCondLst>
                                        </p:cTn>
                                        <p:tgtEl>
                                          <p:spTgt spid="3">
                                            <p:txEl>
                                              <p:pRg st="3" end="3"/>
                                            </p:txEl>
                                          </p:spTgt>
                                        </p:tgtEl>
                                        <p:attrNameLst>
                                          <p:attrName>ppt_x</p:attrName>
                                        </p:attrNameLst>
                                      </p:cBhvr>
                                      <p:tavLst>
                                        <p:tav tm="0">
                                          <p:val>
                                            <p:strVal val="#ppt_x-0.25"/>
                                          </p:val>
                                        </p:tav>
                                        <p:tav tm="100000">
                                          <p:val>
                                            <p:strVal val="#ppt_x"/>
                                          </p:val>
                                        </p:tav>
                                      </p:tavLst>
                                    </p:anim>
                                    <p:anim calcmode="lin" valueType="num">
                                      <p:cBhvr>
                                        <p:cTn id="45" dur="664" tmFilter="0.0,0.0; 0.25,0.07; 0.50,0.2; 0.75,0.467; 1.0,1.0">
                                          <p:stCondLst>
                                            <p:cond delay="0"/>
                                          </p:stCondLst>
                                        </p:cTn>
                                        <p:tgtEl>
                                          <p:spTgt spid="3">
                                            <p:txEl>
                                              <p:pRg st="3" end="3"/>
                                            </p:txEl>
                                          </p:spTgt>
                                        </p:tgtEl>
                                        <p:attrNameLst>
                                          <p:attrName>ppt_y</p:attrName>
                                        </p:attrNameLst>
                                      </p:cBhvr>
                                      <p:tavLst>
                                        <p:tav tm="0" fmla="#ppt_y-sin(pi*$)/3">
                                          <p:val>
                                            <p:fltVal val="0.5"/>
                                          </p:val>
                                        </p:tav>
                                        <p:tav tm="100000">
                                          <p:val>
                                            <p:fltVal val="1"/>
                                          </p:val>
                                        </p:tav>
                                      </p:tavLst>
                                    </p:anim>
                                    <p:anim calcmode="lin" valueType="num">
                                      <p:cBhvr>
                                        <p:cTn id="46" dur="664" tmFilter="0, 0; 0.125,0.2665; 0.25,0.4; 0.375,0.465; 0.5,0.5;  0.625,0.535; 0.75,0.6; 0.875,0.7335; 1,1">
                                          <p:stCondLst>
                                            <p:cond delay="664"/>
                                          </p:stCondLst>
                                        </p:cTn>
                                        <p:tgtEl>
                                          <p:spTgt spid="3">
                                            <p:txEl>
                                              <p:pRg st="3" end="3"/>
                                            </p:txEl>
                                          </p:spTgt>
                                        </p:tgtEl>
                                        <p:attrNameLst>
                                          <p:attrName>ppt_y</p:attrName>
                                        </p:attrNameLst>
                                      </p:cBhvr>
                                      <p:tavLst>
                                        <p:tav tm="0" fmla="#ppt_y-sin(pi*$)/9">
                                          <p:val>
                                            <p:fltVal val="0"/>
                                          </p:val>
                                        </p:tav>
                                        <p:tav tm="100000">
                                          <p:val>
                                            <p:fltVal val="1"/>
                                          </p:val>
                                        </p:tav>
                                      </p:tavLst>
                                    </p:anim>
                                    <p:anim calcmode="lin" valueType="num">
                                      <p:cBhvr>
                                        <p:cTn id="47" dur="332" tmFilter="0, 0; 0.125,0.2665; 0.25,0.4; 0.375,0.465; 0.5,0.5;  0.625,0.535; 0.75,0.6; 0.875,0.7335; 1,1">
                                          <p:stCondLst>
                                            <p:cond delay="1324"/>
                                          </p:stCondLst>
                                        </p:cTn>
                                        <p:tgtEl>
                                          <p:spTgt spid="3">
                                            <p:txEl>
                                              <p:pRg st="3" end="3"/>
                                            </p:txEl>
                                          </p:spTgt>
                                        </p:tgtEl>
                                        <p:attrNameLst>
                                          <p:attrName>ppt_y</p:attrName>
                                        </p:attrNameLst>
                                      </p:cBhvr>
                                      <p:tavLst>
                                        <p:tav tm="0" fmla="#ppt_y-sin(pi*$)/27">
                                          <p:val>
                                            <p:fltVal val="0"/>
                                          </p:val>
                                        </p:tav>
                                        <p:tav tm="100000">
                                          <p:val>
                                            <p:fltVal val="1"/>
                                          </p:val>
                                        </p:tav>
                                      </p:tavLst>
                                    </p:anim>
                                    <p:anim calcmode="lin" valueType="num">
                                      <p:cBhvr>
                                        <p:cTn id="48" dur="164" tmFilter="0, 0; 0.125,0.2665; 0.25,0.4; 0.375,0.465; 0.5,0.5;  0.625,0.535; 0.75,0.6; 0.875,0.7335; 1,1">
                                          <p:stCondLst>
                                            <p:cond delay="1656"/>
                                          </p:stCondLst>
                                        </p:cTn>
                                        <p:tgtEl>
                                          <p:spTgt spid="3">
                                            <p:txEl>
                                              <p:pRg st="3" end="3"/>
                                            </p:txEl>
                                          </p:spTgt>
                                        </p:tgtEl>
                                        <p:attrNameLst>
                                          <p:attrName>ppt_y</p:attrName>
                                        </p:attrNameLst>
                                      </p:cBhvr>
                                      <p:tavLst>
                                        <p:tav tm="0" fmla="#ppt_y-sin(pi*$)/81">
                                          <p:val>
                                            <p:fltVal val="0"/>
                                          </p:val>
                                        </p:tav>
                                        <p:tav tm="100000">
                                          <p:val>
                                            <p:fltVal val="1"/>
                                          </p:val>
                                        </p:tav>
                                      </p:tavLst>
                                    </p:anim>
                                    <p:animScale>
                                      <p:cBhvr>
                                        <p:cTn id="49" dur="26">
                                          <p:stCondLst>
                                            <p:cond delay="650"/>
                                          </p:stCondLst>
                                        </p:cTn>
                                        <p:tgtEl>
                                          <p:spTgt spid="3">
                                            <p:txEl>
                                              <p:pRg st="3" end="3"/>
                                            </p:txEl>
                                          </p:spTgt>
                                        </p:tgtEl>
                                      </p:cBhvr>
                                      <p:to x="100000" y="60000"/>
                                    </p:animScale>
                                    <p:animScale>
                                      <p:cBhvr>
                                        <p:cTn id="50" dur="166" decel="50000">
                                          <p:stCondLst>
                                            <p:cond delay="676"/>
                                          </p:stCondLst>
                                        </p:cTn>
                                        <p:tgtEl>
                                          <p:spTgt spid="3">
                                            <p:txEl>
                                              <p:pRg st="3" end="3"/>
                                            </p:txEl>
                                          </p:spTgt>
                                        </p:tgtEl>
                                      </p:cBhvr>
                                      <p:to x="100000" y="100000"/>
                                    </p:animScale>
                                    <p:animScale>
                                      <p:cBhvr>
                                        <p:cTn id="51" dur="26">
                                          <p:stCondLst>
                                            <p:cond delay="1312"/>
                                          </p:stCondLst>
                                        </p:cTn>
                                        <p:tgtEl>
                                          <p:spTgt spid="3">
                                            <p:txEl>
                                              <p:pRg st="3" end="3"/>
                                            </p:txEl>
                                          </p:spTgt>
                                        </p:tgtEl>
                                      </p:cBhvr>
                                      <p:to x="100000" y="80000"/>
                                    </p:animScale>
                                    <p:animScale>
                                      <p:cBhvr>
                                        <p:cTn id="52" dur="166" decel="50000">
                                          <p:stCondLst>
                                            <p:cond delay="1338"/>
                                          </p:stCondLst>
                                        </p:cTn>
                                        <p:tgtEl>
                                          <p:spTgt spid="3">
                                            <p:txEl>
                                              <p:pRg st="3" end="3"/>
                                            </p:txEl>
                                          </p:spTgt>
                                        </p:tgtEl>
                                      </p:cBhvr>
                                      <p:to x="100000" y="100000"/>
                                    </p:animScale>
                                    <p:animScale>
                                      <p:cBhvr>
                                        <p:cTn id="53" dur="26">
                                          <p:stCondLst>
                                            <p:cond delay="1642"/>
                                          </p:stCondLst>
                                        </p:cTn>
                                        <p:tgtEl>
                                          <p:spTgt spid="3">
                                            <p:txEl>
                                              <p:pRg st="3" end="3"/>
                                            </p:txEl>
                                          </p:spTgt>
                                        </p:tgtEl>
                                      </p:cBhvr>
                                      <p:to x="100000" y="90000"/>
                                    </p:animScale>
                                    <p:animScale>
                                      <p:cBhvr>
                                        <p:cTn id="54" dur="166" decel="50000">
                                          <p:stCondLst>
                                            <p:cond delay="1668"/>
                                          </p:stCondLst>
                                        </p:cTn>
                                        <p:tgtEl>
                                          <p:spTgt spid="3">
                                            <p:txEl>
                                              <p:pRg st="3" end="3"/>
                                            </p:txEl>
                                          </p:spTgt>
                                        </p:tgtEl>
                                      </p:cBhvr>
                                      <p:to x="100000" y="100000"/>
                                    </p:animScale>
                                    <p:animScale>
                                      <p:cBhvr>
                                        <p:cTn id="55" dur="26">
                                          <p:stCondLst>
                                            <p:cond delay="1808"/>
                                          </p:stCondLst>
                                        </p:cTn>
                                        <p:tgtEl>
                                          <p:spTgt spid="3">
                                            <p:txEl>
                                              <p:pRg st="3" end="3"/>
                                            </p:txEl>
                                          </p:spTgt>
                                        </p:tgtEl>
                                      </p:cBhvr>
                                      <p:to x="100000" y="95000"/>
                                    </p:animScale>
                                    <p:animScale>
                                      <p:cBhvr>
                                        <p:cTn id="56" dur="166" decel="50000">
                                          <p:stCondLst>
                                            <p:cond delay="1834"/>
                                          </p:stCondLst>
                                        </p:cTn>
                                        <p:tgtEl>
                                          <p:spTgt spid="3">
                                            <p:txEl>
                                              <p:pRg st="3" end="3"/>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Implementation Parameters: Updates for 2022  </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a:spcAft>
                <a:spcPts val="600"/>
              </a:spcAft>
            </a:pPr>
            <a:r>
              <a:rPr lang="en-US" dirty="0"/>
              <a:t>The 2022 Implementation Parameters was attached with the meeting materials. Updates for 2022 include (continued): </a:t>
            </a:r>
          </a:p>
          <a:p>
            <a:pPr marL="457200" indent="-457200">
              <a:spcAft>
                <a:spcPts val="600"/>
              </a:spcAft>
              <a:buFont typeface="+mj-lt"/>
              <a:buAutoNum type="arabicPeriod" startAt="4"/>
            </a:pPr>
            <a:r>
              <a:rPr lang="en-US" b="0" dirty="0"/>
              <a:t>Adding information on the total number of measures for use in a contract. The Taskforce aims to align the use of quality measures across contracts and to reduce administrative burden on providers.  In pursuit of those aims, the Taskforce recommends that payers and providers choosing to use the Aligned Measure Set </a:t>
            </a:r>
            <a:r>
              <a:rPr lang="en-US" b="0" i="1" dirty="0"/>
              <a:t>limit the number of measures used in any given contract to 15 or fewer </a:t>
            </a:r>
            <a:r>
              <a:rPr lang="en-US" b="0" dirty="0"/>
              <a:t>(this number excludes hospital measures).  Contracting dyads should also consider the following</a:t>
            </a:r>
          </a:p>
          <a:p>
            <a:pPr marL="644525" lvl="1" indent="-457200">
              <a:spcAft>
                <a:spcPts val="0"/>
              </a:spcAft>
            </a:pPr>
            <a:r>
              <a:rPr lang="en-US" b="0" dirty="0"/>
              <a:t>overall measurement burden, and</a:t>
            </a:r>
          </a:p>
          <a:p>
            <a:pPr marL="644525" lvl="1" indent="-457200">
              <a:spcAft>
                <a:spcPts val="600"/>
              </a:spcAft>
            </a:pPr>
            <a:r>
              <a:rPr lang="en-US" b="0" dirty="0"/>
              <a:t>prioritizing measures addressing subpopulations experiencing disparities.</a:t>
            </a:r>
          </a:p>
          <a:p>
            <a:pPr marL="0" indent="0">
              <a:spcAft>
                <a:spcPts val="600"/>
              </a:spcAft>
              <a:buNone/>
            </a:pPr>
            <a:endParaRPr lang="en-US" b="0" dirty="0"/>
          </a:p>
        </p:txBody>
      </p:sp>
    </p:spTree>
    <p:extLst>
      <p:ext uri="{BB962C8B-B14F-4D97-AF65-F5344CB8AC3E}">
        <p14:creationId xmlns:p14="http://schemas.microsoft.com/office/powerpoint/2010/main" val="361197889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Finalize specifications for the REL stratification measure </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a:spcAft>
                <a:spcPts val="600"/>
              </a:spcAft>
            </a:pPr>
            <a:r>
              <a:rPr lang="en-US" b="0" dirty="0"/>
              <a:t>Thank you for submitting feedback on the proposed race, ethnicity, and language stratification measure. </a:t>
            </a:r>
          </a:p>
          <a:p>
            <a:pPr>
              <a:spcAft>
                <a:spcPts val="600"/>
              </a:spcAft>
            </a:pPr>
            <a:r>
              <a:rPr lang="en-US" b="0" dirty="0">
                <a:solidFill>
                  <a:srgbClr val="FF0000"/>
                </a:solidFill>
              </a:rPr>
              <a:t>[placeholder depending finalized specifications] </a:t>
            </a:r>
          </a:p>
        </p:txBody>
      </p:sp>
    </p:spTree>
    <p:extLst>
      <p:ext uri="{BB962C8B-B14F-4D97-AF65-F5344CB8AC3E}">
        <p14:creationId xmlns:p14="http://schemas.microsoft.com/office/powerpoint/2010/main" val="175266906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0"/>
            <a:ext cx="8285621" cy="5512851"/>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Finalizing the 2022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Feedback from Secretary </a:t>
            </a:r>
            <a:r>
              <a:rPr lang="en-US" b="0" dirty="0" err="1">
                <a:ea typeface="Times New Roman" panose="02020603050405020304" pitchFamily="18" charset="0"/>
                <a:cs typeface="Times New Roman" panose="02020603050405020304" pitchFamily="18" charset="0"/>
              </a:rPr>
              <a:t>Sudders</a:t>
            </a:r>
            <a:r>
              <a:rPr lang="en-US" b="0" dirty="0">
                <a:ea typeface="Times New Roman" panose="02020603050405020304" pitchFamily="18" charset="0"/>
                <a:cs typeface="Times New Roman" panose="02020603050405020304" pitchFamily="18" charset="0"/>
              </a:rPr>
              <a: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Review the 2022 Implementation Parameters </a:t>
            </a:r>
          </a:p>
          <a:p>
            <a:pPr marL="644525" lvl="1" indent="-457200">
              <a:buFont typeface="+mj-lt"/>
              <a:buAutoNum type="alphaLcPeriod"/>
            </a:pPr>
            <a:r>
              <a:rPr lang="en-US" b="0" dirty="0"/>
              <a:t>Finalize specifications for the stratification measure </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Incorporate Substance Use Assessment in Primary Care</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Proposal to modify the Annual Review timeline </a:t>
            </a:r>
            <a:endParaRPr lang="en-US" dirty="0"/>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policy proposals</a:t>
            </a:r>
            <a:endParaRPr lang="en-US" b="0" dirty="0">
              <a:ea typeface="Times New Roman" panose="02020603050405020304" pitchFamily="18" charset="0"/>
              <a:cs typeface="Times New Roman" panose="02020603050405020304" pitchFamily="18" charset="0"/>
            </a:endParaRP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Options for improving fidelity to the Aligned Measure Set </a:t>
            </a:r>
          </a:p>
          <a:p>
            <a:pPr marL="644525" lvl="1" indent="-457200">
              <a:buFont typeface="+mj-lt"/>
              <a:buAutoNum type="alphaLcPeriod"/>
            </a:pPr>
            <a:r>
              <a:rPr lang="en-US" b="0" dirty="0">
                <a:ea typeface="Times New Roman" panose="02020603050405020304" pitchFamily="18" charset="0"/>
                <a:cs typeface="Times New Roman" panose="02020603050405020304" pitchFamily="18" charset="0"/>
              </a:rPr>
              <a:t>Proposals raised during payer Quality Catalogue interviews</a:t>
            </a:r>
          </a:p>
          <a:p>
            <a:pPr marL="457200" indent="-457200">
              <a:buFont typeface="+mj-lt"/>
              <a:buAutoNum type="arabicPeriod"/>
            </a:pPr>
            <a:r>
              <a:rPr lang="en-US" sz="2000" dirty="0">
                <a:cs typeface="Times New Roman" panose="02020603050405020304" pitchFamily="18" charset="0"/>
              </a:rPr>
              <a:t>Consider a BCBSMA proposal to improve equity measurement</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Next steps</a:t>
            </a: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644525" lvl="1" indent="-457200">
              <a:buFont typeface="+mj-lt"/>
              <a:buAutoNum type="alphaLcPeriod"/>
            </a:pPr>
            <a:endParaRPr lang="en-US" dirty="0">
              <a:ea typeface="Times New Roman" panose="02020603050405020304" pitchFamily="18" charset="0"/>
              <a:cs typeface="Times New Roman" panose="02020603050405020304" pitchFamily="18" charset="0"/>
            </a:endParaRPr>
          </a:p>
          <a:p>
            <a:pPr marL="457200" indent="-457200">
              <a:buFont typeface="+mj-lt"/>
              <a:buAutoNum type="arabicPeriod"/>
            </a:pPr>
            <a:endParaRPr lang="en-US" dirty="0">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D3915D3D-656E-48AA-8D63-358A7E5AA453}"/>
              </a:ext>
            </a:extLst>
          </p:cNvPr>
          <p:cNvSpPr/>
          <p:nvPr/>
        </p:nvSpPr>
        <p:spPr>
          <a:xfrm>
            <a:off x="0" y="3429000"/>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800759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A8211-3362-474B-A157-C57A6D20E6AC}"/>
              </a:ext>
            </a:extLst>
          </p:cNvPr>
          <p:cNvSpPr>
            <a:spLocks noGrp="1"/>
          </p:cNvSpPr>
          <p:nvPr>
            <p:ph type="title"/>
          </p:nvPr>
        </p:nvSpPr>
        <p:spPr>
          <a:xfrm>
            <a:off x="736599" y="109538"/>
            <a:ext cx="6406323" cy="762000"/>
          </a:xfrm>
        </p:spPr>
        <p:txBody>
          <a:bodyPr/>
          <a:lstStyle/>
          <a:p>
            <a:r>
              <a:rPr lang="en-US"/>
              <a:t>Substance Use Measures Glide Path  </a:t>
            </a:r>
          </a:p>
        </p:txBody>
      </p:sp>
      <p:graphicFrame>
        <p:nvGraphicFramePr>
          <p:cNvPr id="8" name="Content Placeholder 7">
            <a:extLst>
              <a:ext uri="{FF2B5EF4-FFF2-40B4-BE49-F238E27FC236}">
                <a16:creationId xmlns:a16="http://schemas.microsoft.com/office/drawing/2014/main" id="{868580F7-E41E-45CA-B582-862D072730B3}"/>
              </a:ext>
            </a:extLst>
          </p:cNvPr>
          <p:cNvGraphicFramePr>
            <a:graphicFrameLocks noGrp="1"/>
          </p:cNvGraphicFramePr>
          <p:nvPr>
            <p:ph sz="half" idx="1"/>
            <p:extLst>
              <p:ext uri="{D42A27DB-BD31-4B8C-83A1-F6EECF244321}">
                <p14:modId xmlns:p14="http://schemas.microsoft.com/office/powerpoint/2010/main" val="921389352"/>
              </p:ext>
            </p:extLst>
          </p:nvPr>
        </p:nvGraphicFramePr>
        <p:xfrm>
          <a:off x="533400" y="1371600"/>
          <a:ext cx="8077200" cy="49772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1642797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OHH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F9B95F2EE52B4E9FB130DEE3F78C09" ma:contentTypeVersion="6" ma:contentTypeDescription="Create a new document." ma:contentTypeScope="" ma:versionID="ca0602ea54f9c51bfa1c05d1f8c9206a">
  <xsd:schema xmlns:xsd="http://www.w3.org/2001/XMLSchema" xmlns:xs="http://www.w3.org/2001/XMLSchema" xmlns:p="http://schemas.microsoft.com/office/2006/metadata/properties" xmlns:ns2="d29a8555-db37-4257-91ea-e6d336cdedf2" xmlns:ns3="34dc536f-1af3-405a-935d-0fb3b6674883" targetNamespace="http://schemas.microsoft.com/office/2006/metadata/properties" ma:root="true" ma:fieldsID="dc67b3305e56f01fc9e637268d932d2d" ns2:_="" ns3:_="">
    <xsd:import namespace="d29a8555-db37-4257-91ea-e6d336cdedf2"/>
    <xsd:import namespace="34dc536f-1af3-405a-935d-0fb3b6674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dc536f-1af3-405a-935d-0fb3b667488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d29a8555-db37-4257-91ea-e6d336cdedf2">
      <UserInfo>
        <DisplayName>Michael Bailit</DisplayName>
        <AccountId>22</AccountId>
        <AccountType/>
      </UserInfo>
      <UserInfo>
        <DisplayName>Deepti Kanneganti</DisplayName>
        <AccountId>15</AccountId>
        <AccountType/>
      </UserInfo>
      <UserInfo>
        <DisplayName>Justine Zayhowski</DisplayName>
        <AccountId>2633</AccountId>
        <AccountType/>
      </UserInfo>
      <UserInfo>
        <DisplayName>Lisa.Ahlgren@state.ma.us</DisplayName>
        <AccountId>3175</AccountId>
        <AccountType/>
      </UserInfo>
      <UserInfo>
        <DisplayName>Jennifer Sayles</DisplayName>
        <AccountId>4142</AccountId>
        <AccountType/>
      </UserInfo>
      <UserInfo>
        <DisplayName>Mary Beth Dyer</DisplayName>
        <AccountId>20</AccountId>
        <AccountType/>
      </UserInfo>
      <UserInfo>
        <DisplayName>Beth Waldman</DisplayName>
        <AccountId>37</AccountId>
        <AccountType/>
      </UserInfo>
    </SharedWithUsers>
  </documentManagement>
</p:properties>
</file>

<file path=customXml/itemProps1.xml><?xml version="1.0" encoding="utf-8"?>
<ds:datastoreItem xmlns:ds="http://schemas.openxmlformats.org/officeDocument/2006/customXml" ds:itemID="{397D5F87-F55D-4521-89A3-E69A82D118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9a8555-db37-4257-91ea-e6d336cdedf2"/>
    <ds:schemaRef ds:uri="34dc536f-1af3-405a-935d-0fb3b66748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462C3C6-3E64-4F66-8292-8DAEACA6EE62}">
  <ds:schemaRefs>
    <ds:schemaRef ds:uri="http://schemas.microsoft.com/sharepoint/v3/contenttype/forms"/>
  </ds:schemaRefs>
</ds:datastoreItem>
</file>

<file path=customXml/itemProps3.xml><?xml version="1.0" encoding="utf-8"?>
<ds:datastoreItem xmlns:ds="http://schemas.openxmlformats.org/officeDocument/2006/customXml" ds:itemID="{F3D51BB9-DEB6-4460-8125-E187CA6439EC}">
  <ds:schemaRefs>
    <ds:schemaRef ds:uri="http://schemas.microsoft.com/office/2006/metadata/properties"/>
    <ds:schemaRef ds:uri="34dc536f-1af3-405a-935d-0fb3b6674883"/>
    <ds:schemaRef ds:uri="http://www.w3.org/XML/1998/namespace"/>
    <ds:schemaRef ds:uri="http://purl.org/dc/elements/1.1/"/>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d29a8555-db37-4257-91ea-e6d336cdedf2"/>
    <ds:schemaRef ds:uri="http://purl.org/dc/terms/"/>
  </ds:schemaRefs>
</ds:datastoreItem>
</file>

<file path=docProps/app.xml><?xml version="1.0" encoding="utf-8"?>
<Properties xmlns="http://schemas.openxmlformats.org/officeDocument/2006/extended-properties" xmlns:vt="http://schemas.openxmlformats.org/officeDocument/2006/docPropsVTypes">
  <Template>Quality Measurement Taskforce Meeting 19</Template>
  <TotalTime>3233</TotalTime>
  <Words>1688</Words>
  <Application>Microsoft Office PowerPoint</Application>
  <PresentationFormat>On-screen Show (4:3)</PresentationFormat>
  <Paragraphs>193</Paragraphs>
  <Slides>21</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0" baseType="lpstr">
      <vt:lpstr>Arial</vt:lpstr>
      <vt:lpstr>Book Antiqua</vt:lpstr>
      <vt:lpstr>Calibri</vt:lpstr>
      <vt:lpstr>Symbol</vt:lpstr>
      <vt:lpstr>Wingdings</vt:lpstr>
      <vt:lpstr>Wingdings 2</vt:lpstr>
      <vt:lpstr>EOHHS</vt:lpstr>
      <vt:lpstr>SRM_CF_DG1140</vt:lpstr>
      <vt:lpstr>think-cell Slide</vt:lpstr>
      <vt:lpstr>PowerPoint Presentation</vt:lpstr>
      <vt:lpstr>Agenda</vt:lpstr>
      <vt:lpstr>Agenda</vt:lpstr>
      <vt:lpstr>Feedback from Secretary Sudders </vt:lpstr>
      <vt:lpstr>Implementation Parameters: Updates for 2022  </vt:lpstr>
      <vt:lpstr>Implementation Parameters: Updates for 2022  </vt:lpstr>
      <vt:lpstr>Finalize specifications for the REL stratification measure </vt:lpstr>
      <vt:lpstr>Agenda</vt:lpstr>
      <vt:lpstr>Substance Use Measures Glide Path  </vt:lpstr>
      <vt:lpstr>Implementing Substance Use Assessment in Primary Care </vt:lpstr>
      <vt:lpstr>Agenda</vt:lpstr>
      <vt:lpstr>Proposal for Modifying the Annual Review Timeline </vt:lpstr>
      <vt:lpstr>Agenda</vt:lpstr>
      <vt:lpstr>Options for improving fidelity to the Aligned Measure Set</vt:lpstr>
      <vt:lpstr>Options for improving fidelity to the Aligned Measure Set</vt:lpstr>
      <vt:lpstr>Proposals raised during payer Quality Catalogue interviews</vt:lpstr>
      <vt:lpstr>Proposals raised during payer Quality Catalogue interviews</vt:lpstr>
      <vt:lpstr>Agenda</vt:lpstr>
      <vt:lpstr>BCBSMA proposal to improve equity measurement</vt:lpstr>
      <vt:lpstr>Agenda</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ti Kanneganti</dc:creator>
  <cp:lastModifiedBy>Michael Bailit</cp:lastModifiedBy>
  <cp:revision>2</cp:revision>
  <cp:lastPrinted>2020-01-22T12:56:50Z</cp:lastPrinted>
  <dcterms:created xsi:type="dcterms:W3CDTF">2018-07-16T19:03:48Z</dcterms:created>
  <dcterms:modified xsi:type="dcterms:W3CDTF">2021-06-03T00:3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F9B95F2EE52B4E9FB130DEE3F78C09</vt:lpwstr>
  </property>
</Properties>
</file>